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38"/>
  </p:notesMasterIdLst>
  <p:handoutMasterIdLst>
    <p:handoutMasterId r:id="rId39"/>
  </p:handoutMasterIdLst>
  <p:sldIdLst>
    <p:sldId id="2134807243" r:id="rId5"/>
    <p:sldId id="2147479307" r:id="rId6"/>
    <p:sldId id="2147469560" r:id="rId7"/>
    <p:sldId id="2134807258" r:id="rId8"/>
    <p:sldId id="2147469561" r:id="rId9"/>
    <p:sldId id="2147377354" r:id="rId10"/>
    <p:sldId id="2147469539" r:id="rId11"/>
    <p:sldId id="2134807277" r:id="rId12"/>
    <p:sldId id="2134807265" r:id="rId13"/>
    <p:sldId id="2134807266" r:id="rId14"/>
    <p:sldId id="2141411288" r:id="rId15"/>
    <p:sldId id="2134807281" r:id="rId16"/>
    <p:sldId id="2145707073" r:id="rId17"/>
    <p:sldId id="2147469544" r:id="rId18"/>
    <p:sldId id="2147469536" r:id="rId19"/>
    <p:sldId id="2147377360" r:id="rId20"/>
    <p:sldId id="2147469540" r:id="rId21"/>
    <p:sldId id="2147469551" r:id="rId22"/>
    <p:sldId id="2147479309" r:id="rId23"/>
    <p:sldId id="2147469546" r:id="rId24"/>
    <p:sldId id="2147377365" r:id="rId25"/>
    <p:sldId id="2134807289" r:id="rId26"/>
    <p:sldId id="2147469508" r:id="rId27"/>
    <p:sldId id="2134807291" r:id="rId28"/>
    <p:sldId id="2147469547" r:id="rId29"/>
    <p:sldId id="2147469562" r:id="rId30"/>
    <p:sldId id="2147480487" r:id="rId31"/>
    <p:sldId id="2147479302" r:id="rId32"/>
    <p:sldId id="2147469550" r:id="rId33"/>
    <p:sldId id="2134807298" r:id="rId34"/>
    <p:sldId id="2147479311" r:id="rId35"/>
    <p:sldId id="2147479308" r:id="rId36"/>
    <p:sldId id="2147469556"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Phung, Thuy {PEP}" initials="P{" lastIdx="0" clrIdx="6"/>
  <p:cmAuthor id="1" name="Smith, Meagan {PEP}" initials="SM{" lastIdx="0" clrIdx="0">
    <p:extLst>
      <p:ext uri="{19B8F6BF-5375-455C-9EA6-DF929625EA0E}">
        <p15:presenceInfo xmlns:p15="http://schemas.microsoft.com/office/powerpoint/2012/main" userId="S::Meagan.Smith@pepsico.com::330715a8-4d2f-4e72-b189-3d9c3c36dd13" providerId="AD"/>
      </p:ext>
    </p:extLst>
  </p:cmAuthor>
  <p:cmAuthor id="2" name="Kim, Wooyoung - Contractor {PEP}" initials="KW-C{" lastIdx="0" clrIdx="1">
    <p:extLst>
      <p:ext uri="{19B8F6BF-5375-455C-9EA6-DF929625EA0E}">
        <p15:presenceInfo xmlns:p15="http://schemas.microsoft.com/office/powerpoint/2012/main" userId="S::wooyoung.kim.contractor@pepsico.com::90e0b37e-577e-4be9-a5f4-d14d4d592b17" providerId="AD"/>
      </p:ext>
    </p:extLst>
  </p:cmAuthor>
  <p:cmAuthor id="3" name="Singh, Noora {PEP}" initials="SN{" lastIdx="0" clrIdx="2">
    <p:extLst>
      <p:ext uri="{19B8F6BF-5375-455C-9EA6-DF929625EA0E}">
        <p15:presenceInfo xmlns:p15="http://schemas.microsoft.com/office/powerpoint/2012/main" userId="S::Noora.Singh@pepsico.com::29508e6e-6288-4b36-bd40-54c0cec37bd5" providerId="AD"/>
      </p:ext>
    </p:extLst>
  </p:cmAuthor>
  <p:cmAuthor id="4" name="Phung, Thuy {PEP}" initials="PT{" lastIdx="0" clrIdx="3">
    <p:extLst>
      <p:ext uri="{19B8F6BF-5375-455C-9EA6-DF929625EA0E}">
        <p15:presenceInfo xmlns:p15="http://schemas.microsoft.com/office/powerpoint/2012/main" userId="S::Thuy.Phung@pepsico.com::83c6d227-b560-45e4-81d1-2cbefbd4e082" providerId="AD"/>
      </p:ext>
    </p:extLst>
  </p:cmAuthor>
  <p:cmAuthor id="5" name="Natasha" initials="N" lastIdx="0" clrIdx="4"/>
  <p:cmAuthor id="6" name="Hut, Erik {PEP}" initials="HE{"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4CA58A-14A0-4092-A2CC-E1DE8127A774}" v="10" vWet="16" dt="2023-08-22T12:56:31.232"/>
    <p1510:client id="{2CA20CC7-7450-4845-B971-5AA1AD62D9D5}" v="1" dt="2023-08-21T16:50:10.832"/>
    <p1510:client id="{5219F8C3-AE33-46C2-82BD-7B32E2E77580}" v="16" dt="2023-08-22T13:46:33.337"/>
  </p1510:revLst>
</p1510:revInfo>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714" y="72"/>
      </p:cViewPr>
      <p:guideLst/>
    </p:cSldViewPr>
  </p:slideViewPr>
  <p:notesTextViewPr>
    <p:cViewPr>
      <p:scale>
        <a:sx n="1" d="1"/>
        <a:sy n="1" d="1"/>
      </p:scale>
      <p:origin x="0" y="0"/>
    </p:cViewPr>
  </p:notesText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E21223-66CE-4215-A63F-27079EE36F6F}" type="datetimeFigureOut">
              <a:rPr lang="en-US" smtClean="0"/>
              <a:t>5/2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2A7104-55CD-419E-B506-583C6A786296}" type="slidenum">
              <a:rPr lang="en-US" smtClean="0"/>
              <a:t>‹#›</a:t>
            </a:fld>
            <a:endParaRPr lang="en-US"/>
          </a:p>
        </p:txBody>
      </p:sp>
    </p:spTree>
    <p:extLst>
      <p:ext uri="{BB962C8B-B14F-4D97-AF65-F5344CB8AC3E}">
        <p14:creationId xmlns:p14="http://schemas.microsoft.com/office/powerpoint/2010/main" val="1660720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574492-103F-B34E-BE3B-6122011F1595}" type="datetimeFigureOut">
              <a:rPr lang="en-US" smtClean="0"/>
              <a:t>5/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2622A2-3E00-2A4D-8E5C-1BC3C6BDB7A5}" type="slidenum">
              <a:rPr lang="en-US" smtClean="0"/>
              <a:t>‹#›</a:t>
            </a:fld>
            <a:endParaRPr lang="en-US"/>
          </a:p>
        </p:txBody>
      </p:sp>
    </p:spTree>
    <p:extLst>
      <p:ext uri="{BB962C8B-B14F-4D97-AF65-F5344CB8AC3E}">
        <p14:creationId xmlns:p14="http://schemas.microsoft.com/office/powerpoint/2010/main" val="192409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a:t>
            </a:fld>
            <a:endParaRPr lang="en-US"/>
          </a:p>
        </p:txBody>
      </p:sp>
    </p:spTree>
    <p:extLst>
      <p:ext uri="{BB962C8B-B14F-4D97-AF65-F5344CB8AC3E}">
        <p14:creationId xmlns:p14="http://schemas.microsoft.com/office/powerpoint/2010/main" val="1651830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2</a:t>
            </a:fld>
            <a:endParaRPr lang="en-US"/>
          </a:p>
        </p:txBody>
      </p:sp>
    </p:spTree>
    <p:extLst>
      <p:ext uri="{BB962C8B-B14F-4D97-AF65-F5344CB8AC3E}">
        <p14:creationId xmlns:p14="http://schemas.microsoft.com/office/powerpoint/2010/main" val="1181722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stakeholders to be included: Colleagues from finance, from HSE, purchasing, production, process engineers</a:t>
            </a:r>
          </a:p>
          <a:p>
            <a:r>
              <a:rPr lang="en-US"/>
              <a:t>Find a balance between encouraging them to participate i.e. making it easy for them and collecting data in the format you need it to be</a:t>
            </a:r>
          </a:p>
          <a:p>
            <a:r>
              <a:rPr lang="en-US"/>
              <a:t>3 stages or 3 categories of data collection approaches</a:t>
            </a:r>
          </a:p>
          <a:p>
            <a:r>
              <a:rPr lang="en-US"/>
              <a:t>“First round” can also be skipp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38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4</a:t>
            </a:fld>
            <a:endParaRPr lang="en-US"/>
          </a:p>
        </p:txBody>
      </p:sp>
    </p:spTree>
    <p:extLst>
      <p:ext uri="{BB962C8B-B14F-4D97-AF65-F5344CB8AC3E}">
        <p14:creationId xmlns:p14="http://schemas.microsoft.com/office/powerpoint/2010/main" val="120864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5</a:t>
            </a:fld>
            <a:endParaRPr lang="en-US"/>
          </a:p>
        </p:txBody>
      </p:sp>
    </p:spTree>
    <p:extLst>
      <p:ext uri="{BB962C8B-B14F-4D97-AF65-F5344CB8AC3E}">
        <p14:creationId xmlns:p14="http://schemas.microsoft.com/office/powerpoint/2010/main" val="962842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16</a:t>
            </a:fld>
            <a:endParaRPr lang="en-US"/>
          </a:p>
        </p:txBody>
      </p:sp>
    </p:spTree>
    <p:extLst>
      <p:ext uri="{BB962C8B-B14F-4D97-AF65-F5344CB8AC3E}">
        <p14:creationId xmlns:p14="http://schemas.microsoft.com/office/powerpoint/2010/main" val="1322136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https://www.scientificamerican.com/article/could-air-conditioning-fix-climate-change/</a:t>
            </a:r>
          </a:p>
        </p:txBody>
      </p:sp>
      <p:sp>
        <p:nvSpPr>
          <p:cNvPr id="4" name="Slide Number Placeholder 3"/>
          <p:cNvSpPr>
            <a:spLocks noGrp="1"/>
          </p:cNvSpPr>
          <p:nvPr>
            <p:ph type="sldNum" sz="quarter" idx="5"/>
          </p:nvPr>
        </p:nvSpPr>
        <p:spPr/>
        <p:txBody>
          <a:bodyPr/>
          <a:lstStyle/>
          <a:p>
            <a:fld id="{712622A2-3E00-2A4D-8E5C-1BC3C6BDB7A5}" type="slidenum">
              <a:rPr lang="en-US" smtClean="0"/>
              <a:t>17</a:t>
            </a:fld>
            <a:endParaRPr lang="en-US"/>
          </a:p>
        </p:txBody>
      </p:sp>
    </p:spTree>
    <p:extLst>
      <p:ext uri="{BB962C8B-B14F-4D97-AF65-F5344CB8AC3E}">
        <p14:creationId xmlns:p14="http://schemas.microsoft.com/office/powerpoint/2010/main" val="2584984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rPr>
              <a:t>(</a:t>
            </a:r>
            <a:r>
              <a:rPr kumimoji="0" lang="en-US" sz="1200" b="0" i="1" u="none" strike="noStrike" kern="1200" cap="none" spc="0" normalizeH="0" baseline="0" noProof="0">
                <a:ln>
                  <a:noFill/>
                </a:ln>
                <a:solidFill>
                  <a:srgbClr val="44546A"/>
                </a:solidFill>
                <a:effectLst/>
                <a:uLnTx/>
                <a:uFillTx/>
                <a:latin typeface="Calibri" panose="020F0502020204030204"/>
                <a:ea typeface="+mn-ea"/>
                <a:cs typeface="+mn-cs"/>
              </a:rPr>
              <a:t>E.g.: Emission factors from the IEA). </a:t>
            </a:r>
          </a:p>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Times New Roman" panose="02020603050405020304" pitchFamily="18" charset="0"/>
                <a:cs typeface="Times New Roman" panose="02020603050405020304" pitchFamily="18" charset="0"/>
              </a:rPr>
              <a:t>Individual corporate choices regarding electricity contracts, supplier choices, or certificate purchases are not directly reflected in an individual’s scope 2 inventories using this method.</a:t>
            </a:r>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712622A2-3E00-2A4D-8E5C-1BC3C6BDB7A5}" type="slidenum">
              <a:rPr lang="en-US" smtClean="0"/>
              <a:t>18</a:t>
            </a:fld>
            <a:endParaRPr lang="en-US"/>
          </a:p>
        </p:txBody>
      </p:sp>
    </p:spTree>
    <p:extLst>
      <p:ext uri="{BB962C8B-B14F-4D97-AF65-F5344CB8AC3E}">
        <p14:creationId xmlns:p14="http://schemas.microsoft.com/office/powerpoint/2010/main" val="1815410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0</a:t>
            </a:fld>
            <a:endParaRPr lang="en-US"/>
          </a:p>
        </p:txBody>
      </p:sp>
    </p:spTree>
    <p:extLst>
      <p:ext uri="{BB962C8B-B14F-4D97-AF65-F5344CB8AC3E}">
        <p14:creationId xmlns:p14="http://schemas.microsoft.com/office/powerpoint/2010/main" val="269016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21</a:t>
            </a:fld>
            <a:endParaRPr lang="en-US"/>
          </a:p>
        </p:txBody>
      </p:sp>
    </p:spTree>
    <p:extLst>
      <p:ext uri="{BB962C8B-B14F-4D97-AF65-F5344CB8AC3E}">
        <p14:creationId xmlns:p14="http://schemas.microsoft.com/office/powerpoint/2010/main" val="1630113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2</a:t>
            </a:fld>
            <a:endParaRPr lang="en-US"/>
          </a:p>
        </p:txBody>
      </p:sp>
    </p:spTree>
    <p:extLst>
      <p:ext uri="{BB962C8B-B14F-4D97-AF65-F5344CB8AC3E}">
        <p14:creationId xmlns:p14="http://schemas.microsoft.com/office/powerpoint/2010/main" val="493757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4</a:t>
            </a:fld>
            <a:endParaRPr lang="en-US"/>
          </a:p>
        </p:txBody>
      </p:sp>
    </p:spTree>
    <p:extLst>
      <p:ext uri="{BB962C8B-B14F-4D97-AF65-F5344CB8AC3E}">
        <p14:creationId xmlns:p14="http://schemas.microsoft.com/office/powerpoint/2010/main" val="3853883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83018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4</a:t>
            </a:fld>
            <a:endParaRPr lang="en-US"/>
          </a:p>
        </p:txBody>
      </p:sp>
    </p:spTree>
    <p:extLst>
      <p:ext uri="{BB962C8B-B14F-4D97-AF65-F5344CB8AC3E}">
        <p14:creationId xmlns:p14="http://schemas.microsoft.com/office/powerpoint/2010/main" val="3570569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5</a:t>
            </a:fld>
            <a:endParaRPr lang="en-US"/>
          </a:p>
        </p:txBody>
      </p:sp>
    </p:spTree>
    <p:extLst>
      <p:ext uri="{BB962C8B-B14F-4D97-AF65-F5344CB8AC3E}">
        <p14:creationId xmlns:p14="http://schemas.microsoft.com/office/powerpoint/2010/main" val="33610448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6</a:t>
            </a:fld>
            <a:endParaRPr lang="en-US"/>
          </a:p>
        </p:txBody>
      </p:sp>
    </p:spTree>
    <p:extLst>
      <p:ext uri="{BB962C8B-B14F-4D97-AF65-F5344CB8AC3E}">
        <p14:creationId xmlns:p14="http://schemas.microsoft.com/office/powerpoint/2010/main" val="391318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9</a:t>
            </a:fld>
            <a:endParaRPr lang="en-US"/>
          </a:p>
        </p:txBody>
      </p:sp>
    </p:spTree>
    <p:extLst>
      <p:ext uri="{BB962C8B-B14F-4D97-AF65-F5344CB8AC3E}">
        <p14:creationId xmlns:p14="http://schemas.microsoft.com/office/powerpoint/2010/main" val="2503201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0</a:t>
            </a:fld>
            <a:endParaRPr lang="en-US"/>
          </a:p>
        </p:txBody>
      </p:sp>
    </p:spTree>
    <p:extLst>
      <p:ext uri="{BB962C8B-B14F-4D97-AF65-F5344CB8AC3E}">
        <p14:creationId xmlns:p14="http://schemas.microsoft.com/office/powerpoint/2010/main" val="3135373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1</a:t>
            </a:fld>
            <a:endParaRPr lang="en-US"/>
          </a:p>
        </p:txBody>
      </p:sp>
    </p:spTree>
    <p:extLst>
      <p:ext uri="{BB962C8B-B14F-4D97-AF65-F5344CB8AC3E}">
        <p14:creationId xmlns:p14="http://schemas.microsoft.com/office/powerpoint/2010/main" val="22702230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2</a:t>
            </a:fld>
            <a:endParaRPr lang="en-US"/>
          </a:p>
        </p:txBody>
      </p:sp>
    </p:spTree>
    <p:extLst>
      <p:ext uri="{BB962C8B-B14F-4D97-AF65-F5344CB8AC3E}">
        <p14:creationId xmlns:p14="http://schemas.microsoft.com/office/powerpoint/2010/main" val="502567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5</a:t>
            </a:fld>
            <a:endParaRPr lang="en-US"/>
          </a:p>
        </p:txBody>
      </p:sp>
    </p:spTree>
    <p:extLst>
      <p:ext uri="{BB962C8B-B14F-4D97-AF65-F5344CB8AC3E}">
        <p14:creationId xmlns:p14="http://schemas.microsoft.com/office/powerpoint/2010/main" val="580802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6</a:t>
            </a:fld>
            <a:endParaRPr lang="en-US"/>
          </a:p>
        </p:txBody>
      </p:sp>
    </p:spTree>
    <p:extLst>
      <p:ext uri="{BB962C8B-B14F-4D97-AF65-F5344CB8AC3E}">
        <p14:creationId xmlns:p14="http://schemas.microsoft.com/office/powerpoint/2010/main" val="914772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rocess of developing a GHG Footprint is divided into four phases</a:t>
            </a:r>
          </a:p>
          <a:p>
            <a:endParaRPr lang="en-US"/>
          </a:p>
          <a:p>
            <a:r>
              <a:rPr lang="en-US"/>
              <a:t>Phase 1: Planning &amp; preparation</a:t>
            </a:r>
          </a:p>
          <a:p>
            <a:r>
              <a:rPr lang="en-US"/>
              <a:t>Phase 2: Data collection</a:t>
            </a:r>
          </a:p>
          <a:p>
            <a:r>
              <a:rPr lang="en-US"/>
              <a:t>Phase 3 : Data calculation &amp; evaluatio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rgbClr val="FFFFFF"/>
                </a:solidFill>
                <a:effectLst/>
                <a:uLnTx/>
                <a:uFillTx/>
                <a:latin typeface="Arial Black" panose="020B0604020202020204" pitchFamily="34" charset="0"/>
                <a:ea typeface="+mn-ea"/>
                <a:cs typeface="Arial Black" panose="020B0604020202020204" pitchFamily="34" charset="0"/>
              </a:rPr>
              <a:t>Phase 4. Footprint Monitoring &amp; Revising </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001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8</a:t>
            </a:fld>
            <a:endParaRPr lang="en-US"/>
          </a:p>
        </p:txBody>
      </p:sp>
    </p:spTree>
    <p:extLst>
      <p:ext uri="{BB962C8B-B14F-4D97-AF65-F5344CB8AC3E}">
        <p14:creationId xmlns:p14="http://schemas.microsoft.com/office/powerpoint/2010/main" val="1156327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800" err="1">
                <a:effectLst/>
                <a:latin typeface="Segoe UI" panose="020B0502040204020203" pitchFamily="34" charset="0"/>
              </a:rPr>
              <a:t>Footprinting requires collecting data from many parts of company, so you’ll want to engage people from different teams. </a:t>
            </a:r>
          </a:p>
          <a:p>
            <a:pPr marL="0" marR="0" lvl="0" indent="0" algn="l" defTabSz="914400" rtl="0" eaLnBrk="1" fontAlgn="auto" latinLnBrk="0" hangingPunct="1">
              <a:lnSpc>
                <a:spcPct val="100000"/>
              </a:lnSpc>
              <a:spcBef>
                <a:spcPct val="0"/>
              </a:spcBef>
              <a:spcAft>
                <a:spcPct val="0"/>
              </a:spcAft>
              <a:buClrTx/>
              <a:buSzTx/>
              <a:buFontTx/>
              <a:buNone/>
              <a:defRPr/>
            </a:pPr>
            <a:r>
              <a:rPr lang="en-US" sz="1800"/>
              <a:t>It’s also good to get these members involved early because when you later set targets, take actions to reduce your footprint and track your progress towards your targets these people are going to be key partners. </a:t>
            </a:r>
          </a:p>
          <a:p>
            <a:pPr marL="0" marR="0" lvl="0" indent="0" algn="l" defTabSz="914400" rtl="0" eaLnBrk="1" fontAlgn="auto" latinLnBrk="0" hangingPunct="1">
              <a:lnSpc>
                <a:spcPct val="100000"/>
              </a:lnSpc>
              <a:spcBef>
                <a:spcPct val="0"/>
              </a:spcBef>
              <a:spcAft>
                <a:spcPct val="0"/>
              </a:spcAft>
              <a:buClrTx/>
              <a:buSzTx/>
              <a:buFontTx/>
              <a:buNone/>
              <a:defRPr/>
            </a:pPr>
            <a:endParaRPr lang="en-US" sz="1800"/>
          </a:p>
          <a:p>
            <a:pPr marL="0" marR="0" lvl="0" indent="0" algn="l" defTabSz="914400" rtl="0" eaLnBrk="1" fontAlgn="auto" latinLnBrk="0" hangingPunct="1">
              <a:lnSpc>
                <a:spcPct val="100000"/>
              </a:lnSpc>
              <a:spcBef>
                <a:spcPct val="0"/>
              </a:spcBef>
              <a:spcAft>
                <a:spcPct val="0"/>
              </a:spcAft>
              <a:buClrTx/>
              <a:buSzTx/>
              <a:buFontTx/>
              <a:buNone/>
              <a:defRPr/>
            </a:pPr>
            <a:r>
              <a:rPr lang="en-US" sz="1800"/>
              <a:t>Common members include:</a:t>
            </a:r>
            <a:endParaRPr lang="en-US" sz="1800">
              <a:effectLst/>
              <a:latin typeface="Segoe UI" panose="020B0502040204020203" pitchFamily="34" charset="0"/>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Representatives from different departments where data is coming from</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Leadership sponsor to ensure team gets get resources needed</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External support if resources are constrained</a:t>
            </a:r>
          </a:p>
        </p:txBody>
      </p:sp>
      <p:sp>
        <p:nvSpPr>
          <p:cNvPr id="4" name="Slide Number Placeholder 3"/>
          <p:cNvSpPr>
            <a:spLocks noGrp="1"/>
          </p:cNvSpPr>
          <p:nvPr>
            <p:ph type="sldNum" sz="quarter" idx="5"/>
          </p:nvPr>
        </p:nvSpPr>
        <p:spPr/>
        <p:txBody>
          <a:bodyPr/>
          <a:lstStyle/>
          <a:p>
            <a:fld id="{712622A2-3E00-2A4D-8E5C-1BC3C6BDB7A5}" type="slidenum">
              <a:rPr lang="en-US" smtClean="0"/>
              <a:t>9</a:t>
            </a:fld>
            <a:endParaRPr lang="en-US"/>
          </a:p>
        </p:txBody>
      </p:sp>
    </p:spTree>
    <p:extLst>
      <p:ext uri="{BB962C8B-B14F-4D97-AF65-F5344CB8AC3E}">
        <p14:creationId xmlns:p14="http://schemas.microsoft.com/office/powerpoint/2010/main" val="3995379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FFFF"/>
                </a:solidFill>
              </a:rPr>
              <a:t>Your organizational boundaries determine which emissions are allocated to your Scope 1 &amp; 2 footprint versus someone else’s. This step ensures your footprint is relevant and complete and prevents double-counting. Emissions </a:t>
            </a:r>
            <a:r>
              <a:rPr lang="en-US" u="sng">
                <a:solidFill>
                  <a:srgbClr val="FFFFFF"/>
                </a:solidFill>
              </a:rPr>
              <a:t>within</a:t>
            </a:r>
            <a:r>
              <a:rPr lang="en-US">
                <a:solidFill>
                  <a:srgbClr val="FFFFFF"/>
                </a:solidFill>
              </a:rPr>
              <a:t> your organizational boundary fall into your scope 1&amp;2 footprint, Emissions </a:t>
            </a:r>
            <a:r>
              <a:rPr lang="en-US" u="sng">
                <a:solidFill>
                  <a:srgbClr val="FFFFFF"/>
                </a:solidFill>
              </a:rPr>
              <a:t>outside</a:t>
            </a:r>
            <a:r>
              <a:rPr lang="en-US">
                <a:solidFill>
                  <a:srgbClr val="FFFFFF"/>
                </a:solidFill>
              </a:rPr>
              <a:t> of your organizational boundary may fall into scope 3 footprint.</a:t>
            </a:r>
          </a:p>
          <a:p>
            <a:endParaRPr lang="en-US">
              <a:solidFill>
                <a:srgbClr val="FFFFFF"/>
              </a:solidFill>
            </a:endParaRPr>
          </a:p>
          <a:p>
            <a:r>
              <a:rPr lang="en-US">
                <a:solidFill>
                  <a:srgbClr val="FFFFFF"/>
                </a:solidFill>
              </a:rPr>
              <a:t>There are two general ways to defining your organizational boundary: control approach &amp; equity share approach. </a:t>
            </a:r>
          </a:p>
          <a:p>
            <a:r>
              <a:rPr lang="en-US">
                <a:solidFill>
                  <a:srgbClr val="FFFFFF"/>
                </a:solidFill>
              </a:rPr>
              <a:t>Under control approach you take 100% responsibility for all emissions within your control. For equity share approach you only take the % that you have ownership over. </a:t>
            </a:r>
          </a:p>
          <a:p>
            <a:r>
              <a:rPr lang="en-US">
                <a:solidFill>
                  <a:srgbClr val="FFFFFF"/>
                </a:solidFill>
              </a:rPr>
              <a:t>Under the control approach there are two options: Operational control and financial control.</a:t>
            </a:r>
          </a:p>
          <a:p>
            <a:endParaRPr lang="en-US">
              <a:solidFill>
                <a:srgbClr val="FFFFFF"/>
              </a:solidFill>
            </a:endParaRPr>
          </a:p>
          <a:p>
            <a:r>
              <a:rPr lang="en-US">
                <a:solidFill>
                  <a:srgbClr val="FFFFFF"/>
                </a:solidFill>
              </a:rPr>
              <a:t>Most companies take the operational control approach. This means they include all emissions for the facilities / assets they have operational control over in their scope 1&amp;2 footprint. Operational Control = have the power to control operating policies at a facility e.g. able to decide when people work there, when are lights turned on, how is building run. This means that it doesn’t matter whether you lease or own a building or whether it’s part of a joint venture – all that matters is whether you control the operation of what happens in the building.</a:t>
            </a:r>
          </a:p>
          <a:p>
            <a:endParaRPr lang="en-US">
              <a:solidFill>
                <a:srgbClr val="FFFFFF"/>
              </a:solidFill>
            </a:endParaRPr>
          </a:p>
          <a:p>
            <a:r>
              <a:rPr lang="en-US">
                <a:solidFill>
                  <a:srgbClr val="FFFFFF"/>
                </a:solidFill>
              </a:rPr>
              <a:t>For most companies Operational control is same as financial control (who gets to control financial decisions and gets economic benefit from activities)</a:t>
            </a:r>
          </a:p>
          <a:p>
            <a:endParaRPr lang="en-US"/>
          </a:p>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0</a:t>
            </a:fld>
            <a:endParaRPr lang="en-US"/>
          </a:p>
        </p:txBody>
      </p:sp>
    </p:spTree>
    <p:extLst>
      <p:ext uri="{BB962C8B-B14F-4D97-AF65-F5344CB8AC3E}">
        <p14:creationId xmlns:p14="http://schemas.microsoft.com/office/powerpoint/2010/main" val="1851966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vity data: a measure of a level of activity that results in GHG emissions (e.g., gallons of fuel or kWh of electricity consumed)</a:t>
            </a:r>
          </a:p>
          <a:p>
            <a:r>
              <a:rPr lang="en-US"/>
              <a:t>Emissions factor: a coefficient that converts activity data into a quantity of GHGs released to the atmosphere (per unit of activity for a given emission source)</a:t>
            </a:r>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b="1"/>
              <a:t>Activity data can be measured </a:t>
            </a:r>
            <a:r>
              <a:rPr lang="en-US"/>
              <a:t>with two types of data : </a:t>
            </a:r>
            <a:r>
              <a:rPr lang="en-US" sz="1200" b="0">
                <a:solidFill>
                  <a:schemeClr val="tx1"/>
                </a:solidFill>
              </a:rPr>
              <a:t>Primary activity data and Secondary activity data</a:t>
            </a:r>
            <a:endParaRPr lang="en-US" b="0"/>
          </a:p>
          <a:p>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Primary activity </a:t>
            </a:r>
            <a:r>
              <a:rPr lang="en-US" sz="1200">
                <a:solidFill>
                  <a:schemeClr val="tx1"/>
                </a:solidFill>
              </a:rPr>
              <a:t>data comes </a:t>
            </a:r>
            <a:r>
              <a:rPr lang="en-US" sz="1200" b="1">
                <a:solidFill>
                  <a:schemeClr val="tx1"/>
                </a:solidFill>
              </a:rPr>
              <a:t>directly from the organization </a:t>
            </a:r>
            <a:r>
              <a:rPr lang="en-US" sz="1200" b="0">
                <a:solidFill>
                  <a:schemeClr val="tx1"/>
                </a:solidFill>
              </a:rPr>
              <a:t>and can be fed directly in the GHG calculation formula. </a:t>
            </a:r>
            <a:r>
              <a:rPr lang="en-US" sz="1200">
                <a:solidFill>
                  <a:schemeClr val="tx1"/>
                </a:solidFill>
              </a:rPr>
              <a:t>This for example includes data from actual measurements, data directly from the meters, consumption data from utility bills etc.</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b="1">
              <a:solidFill>
                <a:schemeClr val="tx1"/>
              </a:solidFill>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Secondary activity </a:t>
            </a:r>
            <a:r>
              <a:rPr lang="en-US" sz="1200">
                <a:solidFill>
                  <a:schemeClr val="tx1"/>
                </a:solidFill>
              </a:rPr>
              <a:t>data on the other hand are </a:t>
            </a:r>
            <a:r>
              <a:rPr lang="en-US" sz="1200" b="1">
                <a:solidFill>
                  <a:schemeClr val="tx1"/>
                </a:solidFill>
              </a:rPr>
              <a:t>gathered from proxy sources </a:t>
            </a:r>
            <a:r>
              <a:rPr lang="en-US" sz="1200" b="0">
                <a:solidFill>
                  <a:schemeClr val="tx1"/>
                </a:solidFill>
              </a:rPr>
              <a:t>like industry or governmental reports and is used whenever the primary activity data is not available</a:t>
            </a:r>
            <a:r>
              <a:rPr lang="en-US" sz="1200" b="1">
                <a:solidFill>
                  <a:schemeClr val="tx1"/>
                </a:solidFill>
              </a:rPr>
              <a:t>. </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595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 Id="rId4" Type="http://schemas.openxmlformats.org/officeDocument/2006/relationships/image" Target="../media/image40.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 Id="rId4" Type="http://schemas.openxmlformats.org/officeDocument/2006/relationships/image" Target="../media/image4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4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Master" Target="../slideMasters/slideMaster1.xml"/><Relationship Id="rId4" Type="http://schemas.openxmlformats.org/officeDocument/2006/relationships/image" Target="../media/image50.emf"/></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6" name="Picture 5" descr="Logo&#10;&#10;Description automatically generated">
            <a:extLst>
              <a:ext uri="{FF2B5EF4-FFF2-40B4-BE49-F238E27FC236}">
                <a16:creationId xmlns:a16="http://schemas.microsoft.com/office/drawing/2014/main" id="{8FB9A419-EFD6-D543-8D2D-13D26EFCD8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906114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FDA968-CFFF-574B-B309-1B13EAF036C4}"/>
              </a:ext>
            </a:extLst>
          </p:cNvPr>
          <p:cNvSpPr/>
          <p:nvPr userDrawn="1"/>
        </p:nvSpPr>
        <p:spPr>
          <a:xfrm>
            <a:off x="0" y="0"/>
            <a:ext cx="12192000" cy="6839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1"/>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FA4E8F2C-FCC2-4924-B23D-67D89884E92F}"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0558617A-BFEA-6446-BBD6-1757FAF85B5A}"/>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145162353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B113B8C5-618D-8340-9385-C047E514BBE3}"/>
              </a:ext>
            </a:extLst>
          </p:cNvPr>
          <p:cNvSpPr>
            <a:spLocks noGrp="1"/>
          </p:cNvSpPr>
          <p:nvPr>
            <p:ph type="body" sz="quarter" idx="14"/>
          </p:nvPr>
        </p:nvSpPr>
        <p:spPr>
          <a:xfrm>
            <a:off x="735073" y="609952"/>
            <a:ext cx="8809037" cy="4886325"/>
          </a:xfrm>
        </p:spPr>
        <p:txBody>
          <a:bodyPr>
            <a:noAutofit/>
          </a:bodyPr>
          <a:lstStyle>
            <a:lvl1pPr marL="350838" indent="-350838">
              <a:lnSpc>
                <a:spcPct val="100000"/>
              </a:lnSpc>
              <a:spcBef>
                <a:spcPct val="0"/>
              </a:spcBef>
              <a:buFont typeface="Arial" panose="020B0604020202020204" pitchFamily="34" charset="0"/>
              <a:buChar char="•"/>
              <a:defRPr sz="4000" b="1"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40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40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4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12" name="object 14">
            <a:extLst>
              <a:ext uri="{FF2B5EF4-FFF2-40B4-BE49-F238E27FC236}">
                <a16:creationId xmlns:a16="http://schemas.microsoft.com/office/drawing/2014/main" id="{63CC28AF-816F-914B-BD03-1AAE4F04B3D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C1B58BDA-5C65-7E48-BA8E-8DB7156A97A7}"/>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0BDF279B-DCC7-4647-A015-2B277E80A4AB}"/>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C69C73BD-54A3-40A8-8CE1-195DADC8A1A1}"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309973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object 14">
            <a:extLst>
              <a:ext uri="{FF2B5EF4-FFF2-40B4-BE49-F238E27FC236}">
                <a16:creationId xmlns:a16="http://schemas.microsoft.com/office/drawing/2014/main" id="{B0AFC9E7-F3F7-EB52-BE6B-292EDC87111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7" name="TextBox 6">
            <a:extLst>
              <a:ext uri="{FF2B5EF4-FFF2-40B4-BE49-F238E27FC236}">
                <a16:creationId xmlns:a16="http://schemas.microsoft.com/office/drawing/2014/main" id="{35494EDB-CD28-1B5B-EE25-9030268B564E}"/>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8" name="TextBox 7">
            <a:extLst>
              <a:ext uri="{FF2B5EF4-FFF2-40B4-BE49-F238E27FC236}">
                <a16:creationId xmlns:a16="http://schemas.microsoft.com/office/drawing/2014/main" id="{ABB08617-8033-B496-E779-DAD5965AD1E5}"/>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5152C2DF-BD7F-4AD6-91F1-3AA00EE3C4B3}"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81380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B387AC-BC5C-4C42-B302-D15C0CB7E4A3}"/>
              </a:ext>
            </a:extLst>
          </p:cNvPr>
          <p:cNvSpPr/>
          <p:nvPr userDrawn="1"/>
        </p:nvSpPr>
        <p:spPr>
          <a:xfrm>
            <a:off x="0" y="-213"/>
            <a:ext cx="1219200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F76F8AB6-9336-4490-9649-EEA8F8C01AF1}"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881206D9-ADB3-1342-8D17-BE1853EDEC6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08668068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03">
    <p:spTree>
      <p:nvGrpSpPr>
        <p:cNvPr id="1" name=""/>
        <p:cNvGrpSpPr/>
        <p:nvPr/>
      </p:nvGrpSpPr>
      <p:grpSpPr>
        <a:xfrm>
          <a:off x="0" y="0"/>
          <a:ext cx="0" cy="0"/>
          <a:chOff x="0" y="0"/>
          <a:chExt cx="0" cy="0"/>
        </a:xfrm>
      </p:grpSpPr>
      <p:pic>
        <p:nvPicPr>
          <p:cNvPr id="4" name="Picture 3" descr="A picture containing ground, person, outdoor, young&#10;&#10;Description automatically generated">
            <a:extLst>
              <a:ext uri="{FF2B5EF4-FFF2-40B4-BE49-F238E27FC236}">
                <a16:creationId xmlns:a16="http://schemas.microsoft.com/office/drawing/2014/main" id="{1E4B4E86-1417-6E49-A17F-5319E3958BD4}"/>
              </a:ext>
            </a:extLst>
          </p:cNvPr>
          <p:cNvPicPr>
            <a:picLocks noChangeAspect="1"/>
          </p:cNvPicPr>
          <p:nvPr userDrawn="1"/>
        </p:nvPicPr>
        <p:blipFill>
          <a:blip r:embed="rId2">
            <a:extLst>
              <a:ext uri="{28A0092B-C50C-407E-A947-70E740481C1C}">
                <a14:useLocalDpi xmlns:a14="http://schemas.microsoft.com/office/drawing/2010/main"/>
              </a:ext>
            </a:extLst>
          </a:blip>
          <a:srcRect t="-286"/>
          <a:stretch>
            <a:fillRect/>
          </a:stretch>
        </p:blipFill>
        <p:spPr>
          <a:xfrm>
            <a:off x="0" y="0"/>
            <a:ext cx="12192000" cy="6639040"/>
          </a:xfrm>
          <a:prstGeom prst="rect">
            <a:avLst/>
          </a:prstGeom>
        </p:spPr>
      </p:pic>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172C8511-716B-4677-9F9C-8F8928BBC6E5}"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D39D18E5-90AF-504B-92D4-29F221BEFDC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330443854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05">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1357EBA1-0D85-4A9F-A469-482C912D7236}"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103568400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06">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AF991D2D-DE00-4C56-B90C-0AB1CEBD690F}"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364642411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07">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11" name="Text Placeholder 2">
            <a:extLst>
              <a:ext uri="{FF2B5EF4-FFF2-40B4-BE49-F238E27FC236}">
                <a16:creationId xmlns:a16="http://schemas.microsoft.com/office/drawing/2014/main" id="{0F1BE40F-A8A5-AC4C-94D9-D822561EE2DA}"/>
              </a:ext>
            </a:extLst>
          </p:cNvPr>
          <p:cNvSpPr>
            <a:spLocks noGrp="1"/>
          </p:cNvSpPr>
          <p:nvPr>
            <p:ph type="body" sz="quarter" idx="14"/>
          </p:nvPr>
        </p:nvSpPr>
        <p:spPr>
          <a:xfrm>
            <a:off x="568351" y="1691374"/>
            <a:ext cx="6225987" cy="4060070"/>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bg1"/>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bg1"/>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bg1"/>
                </a:solidFill>
              </a:defRPr>
            </a:lvl3pPr>
            <a:lvl4pPr marL="1428750" indent="-406400">
              <a:lnSpc>
                <a:spcPct val="100000"/>
              </a:lnSpc>
              <a:buClr>
                <a:schemeClr val="bg1"/>
              </a:buClr>
              <a:buSzPct val="80000"/>
              <a:buFont typeface="Wingdings" pitchFamily="2" charset="2"/>
              <a:buChar char="§"/>
              <a:defRPr sz="2800">
                <a:solidFill>
                  <a:schemeClr val="bg1"/>
                </a:solidFill>
              </a:defRPr>
            </a:lvl4pPr>
            <a:lvl5pPr marL="1835150" indent="-415925">
              <a:lnSpc>
                <a:spcPct val="100000"/>
              </a:lnSpc>
              <a:buClr>
                <a:schemeClr val="bg1"/>
              </a:buClr>
              <a:buSzPct val="80000"/>
              <a:buFont typeface="Wingdings" pitchFamily="2" charset="2"/>
              <a:buChar char="§"/>
              <a:defRPr sz="28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6376459" cy="959747"/>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51F4E91A-C3CA-4CAC-92B5-D3B6F06F1C42}"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pic>
        <p:nvPicPr>
          <p:cNvPr id="22" name="Picture 21" descr="A person holding a guitar&#10;&#10;Description automatically generated with medium confidence">
            <a:extLst>
              <a:ext uri="{FF2B5EF4-FFF2-40B4-BE49-F238E27FC236}">
                <a16:creationId xmlns:a16="http://schemas.microsoft.com/office/drawing/2014/main" id="{3B8C1BAE-A4B4-7F43-A038-185A3ABFCF0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Tree>
    <p:extLst>
      <p:ext uri="{BB962C8B-B14F-4D97-AF65-F5344CB8AC3E}">
        <p14:creationId xmlns:p14="http://schemas.microsoft.com/office/powerpoint/2010/main" val="389822462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01">
    <p:spTree>
      <p:nvGrpSpPr>
        <p:cNvPr id="1" name=""/>
        <p:cNvGrpSpPr/>
        <p:nvPr/>
      </p:nvGrpSpPr>
      <p:grpSpPr>
        <a:xfrm>
          <a:off x="0" y="0"/>
          <a:ext cx="0" cy="0"/>
          <a:chOff x="0" y="0"/>
          <a:chExt cx="0" cy="0"/>
        </a:xfrm>
      </p:grpSpPr>
      <p:grpSp>
        <p:nvGrpSpPr>
          <p:cNvPr id="22" name="Group 21"/>
          <p:cNvGrpSpPr/>
          <p:nvPr userDrawn="1"/>
        </p:nvGrpSpPr>
        <p:grpSpPr>
          <a:xfrm>
            <a:off x="0" y="0"/>
            <a:ext cx="6415088" cy="6858000"/>
            <a:chOff x="0" y="0"/>
            <a:chExt cx="7815580" cy="8366981"/>
          </a:xfrm>
        </p:grpSpPr>
        <p:sp>
          <p:nvSpPr>
            <p:cNvPr id="20" name="object 3"/>
            <p:cNvSpPr/>
            <p:nvPr userDrawn="1"/>
          </p:nvSpPr>
          <p:spPr>
            <a:xfrm>
              <a:off x="0" y="0"/>
              <a:ext cx="7815580" cy="5356860"/>
            </a:xfrm>
            <a:custGeom>
              <a:avLst/>
              <a:gdLst/>
              <a:ahLst/>
              <a:cxnLst/>
              <a:rect l="l" t="t" r="r" b="b"/>
              <a:pathLst>
                <a:path w="7815580" h="5356860">
                  <a:moveTo>
                    <a:pt x="0" y="5356606"/>
                  </a:moveTo>
                  <a:lnTo>
                    <a:pt x="7815491" y="5356606"/>
                  </a:lnTo>
                  <a:lnTo>
                    <a:pt x="7815491" y="0"/>
                  </a:lnTo>
                  <a:lnTo>
                    <a:pt x="0" y="0"/>
                  </a:lnTo>
                  <a:lnTo>
                    <a:pt x="0" y="5356606"/>
                  </a:lnTo>
                  <a:close/>
                </a:path>
              </a:pathLst>
            </a:custGeom>
            <a:solidFill>
              <a:schemeClr val="accent6"/>
            </a:solidFill>
          </p:spPr>
          <p:txBody>
            <a:bodyPr wrap="square" lIns="0" tIns="0" rIns="0" bIns="0" rtlCol="0"/>
            <a:lstStyle/>
            <a:p>
              <a:endParaRPr/>
            </a:p>
          </p:txBody>
        </p:sp>
        <p:sp>
          <p:nvSpPr>
            <p:cNvPr id="21" name="object 4"/>
            <p:cNvSpPr/>
            <p:nvPr userDrawn="1"/>
          </p:nvSpPr>
          <p:spPr>
            <a:xfrm>
              <a:off x="0" y="2837542"/>
              <a:ext cx="7815580" cy="5529439"/>
            </a:xfrm>
            <a:custGeom>
              <a:avLst/>
              <a:gdLst/>
              <a:ahLst/>
              <a:cxnLst/>
              <a:rect l="l" t="t" r="r" b="b"/>
              <a:pathLst>
                <a:path w="7815580" h="2254250">
                  <a:moveTo>
                    <a:pt x="0" y="2253640"/>
                  </a:moveTo>
                  <a:lnTo>
                    <a:pt x="7815491" y="2253640"/>
                  </a:lnTo>
                  <a:lnTo>
                    <a:pt x="7815491" y="0"/>
                  </a:lnTo>
                  <a:lnTo>
                    <a:pt x="0" y="0"/>
                  </a:lnTo>
                  <a:lnTo>
                    <a:pt x="0" y="2253640"/>
                  </a:lnTo>
                  <a:close/>
                </a:path>
              </a:pathLst>
            </a:custGeom>
            <a:solidFill>
              <a:schemeClr val="accent3"/>
            </a:solidFill>
          </p:spPr>
          <p:txBody>
            <a:bodyPr wrap="square" lIns="0" tIns="0" rIns="0" bIns="0" rtlCol="0"/>
            <a:lstStyle/>
            <a:p>
              <a:endParaRPr/>
            </a:p>
          </p:txBody>
        </p:sp>
      </p:grpSp>
      <p:sp>
        <p:nvSpPr>
          <p:cNvPr id="12" name="Text Placeholder 2">
            <a:extLst>
              <a:ext uri="{FF2B5EF4-FFF2-40B4-BE49-F238E27FC236}">
                <a16:creationId xmlns:a16="http://schemas.microsoft.com/office/drawing/2014/main" id="{43FC9E75-76C1-9E41-B519-C3DA63AE3465}"/>
              </a:ext>
            </a:extLst>
          </p:cNvPr>
          <p:cNvSpPr>
            <a:spLocks noGrp="1"/>
          </p:cNvSpPr>
          <p:nvPr>
            <p:ph type="body" sz="quarter" idx="15"/>
          </p:nvPr>
        </p:nvSpPr>
        <p:spPr>
          <a:xfrm>
            <a:off x="392862" y="2449249"/>
            <a:ext cx="5618573" cy="371977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2"/>
          </p:nvPr>
        </p:nvSpPr>
        <p:spPr>
          <a:xfrm>
            <a:off x="6415088" y="-1"/>
            <a:ext cx="5776912" cy="6608561"/>
          </a:xfrm>
        </p:spPr>
        <p:txBody>
          <a:bodyPr anchor="ctr">
            <a:normAutofit/>
          </a:bodyPr>
          <a:lstStyle>
            <a:lvl1pPr marL="0" indent="0" algn="ctr">
              <a:buNone/>
              <a:defRPr sz="1800"/>
            </a:lvl1pPr>
          </a:lstStyle>
          <a:p>
            <a:endParaRPr lang="en-US"/>
          </a:p>
        </p:txBody>
      </p:sp>
      <p:sp>
        <p:nvSpPr>
          <p:cNvPr id="35" name="Text Placeholder 17"/>
          <p:cNvSpPr>
            <a:spLocks noGrp="1"/>
          </p:cNvSpPr>
          <p:nvPr>
            <p:ph type="body" sz="quarter" idx="13" hasCustomPrompt="1"/>
          </p:nvPr>
        </p:nvSpPr>
        <p:spPr>
          <a:xfrm>
            <a:off x="398041" y="1877701"/>
            <a:ext cx="5618573" cy="266403"/>
          </a:xfrm>
        </p:spPr>
        <p:txBody>
          <a:bodyPr anchor="ctr">
            <a:noAutofit/>
          </a:bodyPr>
          <a:lstStyle>
            <a:lvl1pPr marL="0" indent="0">
              <a:lnSpc>
                <a:spcPct val="100000"/>
              </a:lnSpc>
              <a:spcBef>
                <a:spcPct val="0"/>
              </a:spcBef>
              <a:buNone/>
              <a:defRPr lang="en-US" sz="2000" b="0" i="0" kern="1200" spc="245"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ALL-CAPS</a:t>
            </a:r>
          </a:p>
        </p:txBody>
      </p:sp>
      <p:sp>
        <p:nvSpPr>
          <p:cNvPr id="38" name="Title 32"/>
          <p:cNvSpPr>
            <a:spLocks noGrp="1"/>
          </p:cNvSpPr>
          <p:nvPr>
            <p:ph type="title"/>
          </p:nvPr>
        </p:nvSpPr>
        <p:spPr>
          <a:xfrm>
            <a:off x="398041" y="570086"/>
            <a:ext cx="5618573" cy="130907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3" name="object 14">
            <a:extLst>
              <a:ext uri="{FF2B5EF4-FFF2-40B4-BE49-F238E27FC236}">
                <a16:creationId xmlns:a16="http://schemas.microsoft.com/office/drawing/2014/main" id="{1F1B76FF-C9EC-5A44-A974-9022B654186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BE65AA18-2446-C841-95C6-6F2267FB5FEA}"/>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6" name="TextBox 15">
            <a:extLst>
              <a:ext uri="{FF2B5EF4-FFF2-40B4-BE49-F238E27FC236}">
                <a16:creationId xmlns:a16="http://schemas.microsoft.com/office/drawing/2014/main" id="{4BCF5127-9F25-9E46-8D97-1E611FED570C}"/>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DC4DC3D7-45D7-4227-8A35-5AA69B8F1C25}"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910095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Caption 02">
    <p:spTree>
      <p:nvGrpSpPr>
        <p:cNvPr id="1" name=""/>
        <p:cNvGrpSpPr/>
        <p:nvPr/>
      </p:nvGrpSpPr>
      <p:grpSpPr>
        <a:xfrm>
          <a:off x="0" y="0"/>
          <a:ext cx="0" cy="0"/>
          <a:chOff x="0" y="0"/>
          <a:chExt cx="0" cy="0"/>
        </a:xfrm>
      </p:grpSpPr>
      <p:sp>
        <p:nvSpPr>
          <p:cNvPr id="9" name="object 3"/>
          <p:cNvSpPr/>
          <p:nvPr userDrawn="1"/>
        </p:nvSpPr>
        <p:spPr>
          <a:xfrm>
            <a:off x="0" y="905993"/>
            <a:ext cx="6705600" cy="5700342"/>
          </a:xfrm>
          <a:custGeom>
            <a:avLst/>
            <a:gdLst/>
            <a:ahLst/>
            <a:cxnLst/>
            <a:rect l="l" t="t" r="r" b="b"/>
            <a:pathLst>
              <a:path w="7315200" h="6218555">
                <a:moveTo>
                  <a:pt x="0" y="6218174"/>
                </a:moveTo>
                <a:lnTo>
                  <a:pt x="7315200" y="6218174"/>
                </a:lnTo>
                <a:lnTo>
                  <a:pt x="7315200" y="0"/>
                </a:lnTo>
                <a:lnTo>
                  <a:pt x="0" y="0"/>
                </a:lnTo>
                <a:lnTo>
                  <a:pt x="0" y="6218174"/>
                </a:lnTo>
                <a:close/>
              </a:path>
            </a:pathLst>
          </a:custGeom>
          <a:solidFill>
            <a:schemeClr val="accent3"/>
          </a:solidFill>
        </p:spPr>
        <p:txBody>
          <a:bodyPr wrap="square" lIns="0" tIns="0" rIns="0" bIns="0" rtlCol="0"/>
          <a:lstStyle/>
          <a:p>
            <a:endParaRPr/>
          </a:p>
        </p:txBody>
      </p:sp>
      <p:sp>
        <p:nvSpPr>
          <p:cNvPr id="10" name="Text Placeholder 2">
            <a:extLst>
              <a:ext uri="{FF2B5EF4-FFF2-40B4-BE49-F238E27FC236}">
                <a16:creationId xmlns:a16="http://schemas.microsoft.com/office/drawing/2014/main" id="{BC303B69-6EC1-474B-9014-1D2C03DC6255}"/>
              </a:ext>
            </a:extLst>
          </p:cNvPr>
          <p:cNvSpPr>
            <a:spLocks noGrp="1"/>
          </p:cNvSpPr>
          <p:nvPr>
            <p:ph type="body" sz="quarter" idx="17"/>
          </p:nvPr>
        </p:nvSpPr>
        <p:spPr>
          <a:xfrm>
            <a:off x="609233" y="1283891"/>
            <a:ext cx="5486768" cy="4890853"/>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5"/>
          </p:nvPr>
        </p:nvSpPr>
        <p:spPr>
          <a:xfrm>
            <a:off x="6705601" y="900273"/>
            <a:ext cx="5486400" cy="5700341"/>
          </a:xfrm>
        </p:spPr>
        <p:txBody>
          <a:bodyPr anchor="ctr">
            <a:normAutofit/>
          </a:bodyPr>
          <a:lstStyle>
            <a:lvl1pPr algn="ctr">
              <a:defRPr sz="1800"/>
            </a:lvl1pPr>
          </a:lstStyle>
          <a:p>
            <a:endParaRPr lang="en-US"/>
          </a:p>
        </p:txBody>
      </p:sp>
      <p:sp>
        <p:nvSpPr>
          <p:cNvPr id="17" name="object 2">
            <a:extLst>
              <a:ext uri="{FF2B5EF4-FFF2-40B4-BE49-F238E27FC236}">
                <a16:creationId xmlns:a16="http://schemas.microsoft.com/office/drawing/2014/main" id="{D6DCC7D7-83DB-FF49-9DED-47437181314F}"/>
              </a:ext>
            </a:extLst>
          </p:cNvPr>
          <p:cNvSpPr/>
          <p:nvPr userDrawn="1"/>
        </p:nvSpPr>
        <p:spPr>
          <a:xfrm>
            <a:off x="0" y="0"/>
            <a:ext cx="12192000" cy="103990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2"/>
          </a:solidFill>
        </p:spPr>
        <p:txBody>
          <a:bodyPr wrap="square" lIns="0" tIns="0" rIns="0" bIns="0" rtlCol="0"/>
          <a:lstStyle/>
          <a:p>
            <a:endParaRPr/>
          </a:p>
        </p:txBody>
      </p:sp>
      <p:sp>
        <p:nvSpPr>
          <p:cNvPr id="11" name="object 14">
            <a:extLst>
              <a:ext uri="{FF2B5EF4-FFF2-40B4-BE49-F238E27FC236}">
                <a16:creationId xmlns:a16="http://schemas.microsoft.com/office/drawing/2014/main" id="{A051F528-0267-AC44-802E-6CFA81790A9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F4CE3AC5-6BA2-9D4B-8D9D-85BBCB0AD79F}"/>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F5550B7E-D516-3042-9492-3A35043BF549}"/>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43E969DD-8F1A-445C-A69F-44EB442761C4}"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2C94709-72E8-DB46-84A4-EC29FA2E6337}"/>
              </a:ext>
            </a:extLst>
          </p:cNvPr>
          <p:cNvSpPr>
            <a:spLocks noGrp="1"/>
          </p:cNvSpPr>
          <p:nvPr>
            <p:ph type="body" sz="quarter" idx="16" hasCustomPrompt="1"/>
          </p:nvPr>
        </p:nvSpPr>
        <p:spPr>
          <a:xfrm>
            <a:off x="609232" y="246212"/>
            <a:ext cx="10952848" cy="547480"/>
          </a:xfrm>
        </p:spPr>
        <p:txBody>
          <a:bodyPr>
            <a:noAutofit/>
          </a:bodyPr>
          <a:lstStyle>
            <a:lvl1pPr>
              <a:buNone/>
              <a:defRPr sz="3200" b="1" i="0">
                <a:solidFill>
                  <a:schemeClr val="bg1"/>
                </a:solidFill>
                <a:latin typeface="Calibri" panose="020F0502020204030204" pitchFamily="34" charset="0"/>
                <a:cs typeface="Calibri" panose="020F0502020204030204" pitchFamily="34" charset="0"/>
              </a:defRPr>
            </a:lvl1pPr>
          </a:lstStyle>
          <a:p>
            <a:pPr lvl="0"/>
            <a:r>
              <a:rPr lang="en-US"/>
              <a:t>Click to edit Master title</a:t>
            </a:r>
          </a:p>
        </p:txBody>
      </p:sp>
    </p:spTree>
    <p:extLst>
      <p:ext uri="{BB962C8B-B14F-4D97-AF65-F5344CB8AC3E}">
        <p14:creationId xmlns:p14="http://schemas.microsoft.com/office/powerpoint/2010/main" val="113148686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01">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9" name="Picture Placeholder 8" descr="A row of wind turbines&#10;&#10;Description automatically generated with low confidence">
            <a:extLst>
              <a:ext uri="{FF2B5EF4-FFF2-40B4-BE49-F238E27FC236}">
                <a16:creationId xmlns:a16="http://schemas.microsoft.com/office/drawing/2014/main" id="{ECCBDA21-3720-EC48-BB2A-E186AD6135E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88" y="0"/>
            <a:ext cx="7526731" cy="6869788"/>
          </a:xfrm>
          <a:prstGeom prst="rect">
            <a:avLst/>
          </a:prstGeom>
        </p:spPr>
      </p:pic>
      <p:pic>
        <p:nvPicPr>
          <p:cNvPr id="12" name="Picture 11" descr="Logo&#10;&#10;Description automatically generated">
            <a:extLst>
              <a:ext uri="{FF2B5EF4-FFF2-40B4-BE49-F238E27FC236}">
                <a16:creationId xmlns:a16="http://schemas.microsoft.com/office/drawing/2014/main" id="{CF808A19-85E5-7240-A188-D33E5B6857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460046090"/>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03">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69BBD7DC-101F-DE41-B947-F7A236E0D0C1}"/>
              </a:ext>
            </a:extLst>
          </p:cNvPr>
          <p:cNvSpPr>
            <a:spLocks noGrp="1"/>
          </p:cNvSpPr>
          <p:nvPr>
            <p:ph type="body" sz="quarter" idx="15"/>
          </p:nvPr>
        </p:nvSpPr>
        <p:spPr>
          <a:xfrm>
            <a:off x="568351" y="1509430"/>
            <a:ext cx="5243485" cy="4655064"/>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hasCustomPrompt="1"/>
          </p:nvPr>
        </p:nvSpPr>
        <p:spPr>
          <a:xfrm>
            <a:off x="568351" y="502362"/>
            <a:ext cx="5243485" cy="50923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9" name="Picture Placeholder 25">
            <a:extLst>
              <a:ext uri="{FF2B5EF4-FFF2-40B4-BE49-F238E27FC236}">
                <a16:creationId xmlns:a16="http://schemas.microsoft.com/office/drawing/2014/main" id="{C0EDF1BA-F897-AC42-9578-3CCCFD8F9647}"/>
              </a:ext>
            </a:extLst>
          </p:cNvPr>
          <p:cNvSpPr>
            <a:spLocks noGrp="1"/>
          </p:cNvSpPr>
          <p:nvPr>
            <p:ph type="pic" sz="quarter" idx="12"/>
          </p:nvPr>
        </p:nvSpPr>
        <p:spPr>
          <a:xfrm>
            <a:off x="6380164" y="-1"/>
            <a:ext cx="5811836" cy="6604030"/>
          </a:xfrm>
        </p:spPr>
        <p:txBody>
          <a:bodyPr anchor="ctr">
            <a:normAutofit/>
          </a:bodyPr>
          <a:lstStyle>
            <a:lvl1pPr marL="0" indent="0" algn="ctr">
              <a:buNone/>
              <a:defRPr sz="1800"/>
            </a:lvl1pPr>
          </a:lstStyle>
          <a:p>
            <a:endParaRPr lang="en-US"/>
          </a:p>
        </p:txBody>
      </p:sp>
      <p:sp>
        <p:nvSpPr>
          <p:cNvPr id="10" name="object 14">
            <a:extLst>
              <a:ext uri="{FF2B5EF4-FFF2-40B4-BE49-F238E27FC236}">
                <a16:creationId xmlns:a16="http://schemas.microsoft.com/office/drawing/2014/main" id="{0525074F-92B4-2A4A-8FD9-4119F323FE50}"/>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D84B00D6-F204-9642-B56C-5BBE902D4083}"/>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4" name="TextBox 13">
            <a:extLst>
              <a:ext uri="{FF2B5EF4-FFF2-40B4-BE49-F238E27FC236}">
                <a16:creationId xmlns:a16="http://schemas.microsoft.com/office/drawing/2014/main" id="{212FA67C-B82C-FA42-9F0D-AFF4AE7190E8}"/>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7FBAE027-35EA-4E7C-A55A-D418ADC66F3F}"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6489350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04">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EF45D8A2-1C9E-034C-92A4-CF7C3E2F3C21}"/>
              </a:ext>
            </a:extLst>
          </p:cNvPr>
          <p:cNvSpPr>
            <a:spLocks noGrp="1"/>
          </p:cNvSpPr>
          <p:nvPr>
            <p:ph type="body" sz="quarter" idx="17"/>
          </p:nvPr>
        </p:nvSpPr>
        <p:spPr>
          <a:xfrm>
            <a:off x="893395" y="2210178"/>
            <a:ext cx="4575628" cy="3958848"/>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p:nvPr>
        </p:nvSpPr>
        <p:spPr>
          <a:xfrm>
            <a:off x="895113" y="598495"/>
            <a:ext cx="4575628" cy="1492704"/>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1" name="Picture Placeholder 10"/>
          <p:cNvSpPr>
            <a:spLocks noGrp="1"/>
          </p:cNvSpPr>
          <p:nvPr>
            <p:ph type="pic" sz="quarter" idx="15"/>
          </p:nvPr>
        </p:nvSpPr>
        <p:spPr>
          <a:xfrm>
            <a:off x="6380163" y="-1"/>
            <a:ext cx="5811837" cy="6604030"/>
          </a:xfrm>
        </p:spPr>
        <p:txBody>
          <a:bodyPr anchor="ctr">
            <a:normAutofit/>
          </a:bodyPr>
          <a:lstStyle>
            <a:lvl1pPr marL="0" indent="0" algn="ctr">
              <a:buNone/>
              <a:defRPr sz="1600">
                <a:solidFill>
                  <a:schemeClr val="tx1"/>
                </a:solidFill>
              </a:defRPr>
            </a:lvl1pPr>
          </a:lstStyle>
          <a:p>
            <a:endParaRPr lang="en-US"/>
          </a:p>
        </p:txBody>
      </p:sp>
      <p:sp>
        <p:nvSpPr>
          <p:cNvPr id="10" name="object 14">
            <a:extLst>
              <a:ext uri="{FF2B5EF4-FFF2-40B4-BE49-F238E27FC236}">
                <a16:creationId xmlns:a16="http://schemas.microsoft.com/office/drawing/2014/main" id="{5EE6E61F-3C40-184C-BDFD-0C688F65A4D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EE29C900-8C23-D64E-AD26-E6B959AE92AC}"/>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F8425BAE-D08E-A242-8D08-2F09949F5011}"/>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079D3910-781F-4DB6-A05B-F6918008465A}"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9245578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05">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AA410075-A9E7-0B43-8C97-F3C18B4A1C17}"/>
              </a:ext>
            </a:extLst>
          </p:cNvPr>
          <p:cNvSpPr>
            <a:spLocks noGrp="1"/>
          </p:cNvSpPr>
          <p:nvPr>
            <p:ph type="body" sz="quarter" idx="16"/>
          </p:nvPr>
        </p:nvSpPr>
        <p:spPr>
          <a:xfrm>
            <a:off x="6548216" y="2873828"/>
            <a:ext cx="4847771"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B7AF7BFE-6239-47AF-80AD-324C9639B6BE}"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290718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Caption 06">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68F6C587-4C81-F243-A6DC-43635033AFD2}"/>
              </a:ext>
            </a:extLst>
          </p:cNvPr>
          <p:cNvSpPr>
            <a:spLocks noGrp="1"/>
          </p:cNvSpPr>
          <p:nvPr>
            <p:ph type="body" sz="quarter" idx="17"/>
          </p:nvPr>
        </p:nvSpPr>
        <p:spPr>
          <a:xfrm>
            <a:off x="6548216" y="2880247"/>
            <a:ext cx="4847770"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585B1957-0C12-4492-B914-BC9952B77AA2}"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987542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Caption 07">
    <p:spTree>
      <p:nvGrpSpPr>
        <p:cNvPr id="1" name=""/>
        <p:cNvGrpSpPr/>
        <p:nvPr/>
      </p:nvGrpSpPr>
      <p:grpSpPr>
        <a:xfrm>
          <a:off x="0" y="0"/>
          <a:ext cx="0" cy="0"/>
          <a:chOff x="0" y="0"/>
          <a:chExt cx="0" cy="0"/>
        </a:xfrm>
      </p:grpSpPr>
      <p:sp>
        <p:nvSpPr>
          <p:cNvPr id="6" name="object 2"/>
          <p:cNvSpPr/>
          <p:nvPr userDrawn="1"/>
        </p:nvSpPr>
        <p:spPr>
          <a:xfrm>
            <a:off x="7907317" y="-7257"/>
            <a:ext cx="3866497"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endParaRPr/>
          </a:p>
        </p:txBody>
      </p:sp>
      <p:sp>
        <p:nvSpPr>
          <p:cNvPr id="12" name="Text Placeholder 2">
            <a:extLst>
              <a:ext uri="{FF2B5EF4-FFF2-40B4-BE49-F238E27FC236}">
                <a16:creationId xmlns:a16="http://schemas.microsoft.com/office/drawing/2014/main" id="{B513F36F-7FF0-5148-A0A7-96C0F6EEB6D6}"/>
              </a:ext>
            </a:extLst>
          </p:cNvPr>
          <p:cNvSpPr>
            <a:spLocks noGrp="1"/>
          </p:cNvSpPr>
          <p:nvPr>
            <p:ph type="body" sz="quarter" idx="17"/>
          </p:nvPr>
        </p:nvSpPr>
        <p:spPr>
          <a:xfrm>
            <a:off x="8149148" y="3410094"/>
            <a:ext cx="3381950" cy="2614477"/>
          </a:xfrm>
        </p:spPr>
        <p:txBody>
          <a:bodyPr>
            <a:noAutofit/>
          </a:bodyPr>
          <a:lstStyle>
            <a:lvl1pPr marL="180975" indent="-180975">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800">
                <a:solidFill>
                  <a:schemeClr val="bg1"/>
                </a:solidFill>
              </a:defRPr>
            </a:lvl3pPr>
            <a:lvl4pPr marL="1258888" indent="-236538">
              <a:lnSpc>
                <a:spcPct val="100000"/>
              </a:lnSpc>
              <a:buClr>
                <a:schemeClr val="bg1"/>
              </a:buClr>
              <a:buSzPct val="80000"/>
              <a:buFont typeface="Wingdings" pitchFamily="2" charset="2"/>
              <a:buChar char="§"/>
              <a:defRPr sz="1800">
                <a:solidFill>
                  <a:schemeClr val="bg1"/>
                </a:solidFill>
              </a:defRPr>
            </a:lvl4pPr>
            <a:lvl5pPr marL="1663700" indent="-244475">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7" name="object 8"/>
          <p:cNvSpPr/>
          <p:nvPr userDrawn="1"/>
        </p:nvSpPr>
        <p:spPr>
          <a:xfrm>
            <a:off x="11773373" y="-7257"/>
            <a:ext cx="418628" cy="6865257"/>
          </a:xfrm>
          <a:custGeom>
            <a:avLst/>
            <a:gdLst/>
            <a:ahLst/>
            <a:cxnLst/>
            <a:rect l="l" t="t" r="r" b="b"/>
            <a:pathLst>
              <a:path w="457200" h="8229600">
                <a:moveTo>
                  <a:pt x="0" y="8229600"/>
                </a:moveTo>
                <a:lnTo>
                  <a:pt x="457200" y="8229600"/>
                </a:lnTo>
                <a:lnTo>
                  <a:pt x="457200" y="0"/>
                </a:lnTo>
                <a:lnTo>
                  <a:pt x="0" y="0"/>
                </a:lnTo>
                <a:lnTo>
                  <a:pt x="0" y="8229600"/>
                </a:lnTo>
                <a:close/>
              </a:path>
            </a:pathLst>
          </a:custGeom>
          <a:solidFill>
            <a:schemeClr val="accent3"/>
          </a:solidFill>
        </p:spPr>
        <p:txBody>
          <a:bodyPr wrap="square" lIns="0" tIns="0" rIns="0" bIns="0" rtlCol="0"/>
          <a:lstStyle/>
          <a:p>
            <a:endParaRPr/>
          </a:p>
        </p:txBody>
      </p:sp>
      <p:sp>
        <p:nvSpPr>
          <p:cNvPr id="10" name="Picture Placeholder 9"/>
          <p:cNvSpPr>
            <a:spLocks noGrp="1"/>
          </p:cNvSpPr>
          <p:nvPr userDrawn="1">
            <p:ph type="pic" sz="quarter" idx="10"/>
          </p:nvPr>
        </p:nvSpPr>
        <p:spPr>
          <a:xfrm>
            <a:off x="0" y="-1"/>
            <a:ext cx="7907316" cy="6608347"/>
          </a:xfrm>
        </p:spPr>
        <p:txBody>
          <a:bodyPr anchor="ctr">
            <a:normAutofit/>
          </a:bodyPr>
          <a:lstStyle>
            <a:lvl1pPr marL="0" indent="0" algn="ctr">
              <a:buNone/>
              <a:defRPr sz="1600"/>
            </a:lvl1pPr>
          </a:lstStyle>
          <a:p>
            <a:endParaRPr lang="en-US"/>
          </a:p>
        </p:txBody>
      </p:sp>
      <p:sp>
        <p:nvSpPr>
          <p:cNvPr id="11" name="Title 10"/>
          <p:cNvSpPr>
            <a:spLocks noGrp="1"/>
          </p:cNvSpPr>
          <p:nvPr userDrawn="1">
            <p:ph type="title"/>
          </p:nvPr>
        </p:nvSpPr>
        <p:spPr>
          <a:xfrm>
            <a:off x="8149590" y="1569811"/>
            <a:ext cx="3381950" cy="1782989"/>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7" name="object 14">
            <a:extLst>
              <a:ext uri="{FF2B5EF4-FFF2-40B4-BE49-F238E27FC236}">
                <a16:creationId xmlns:a16="http://schemas.microsoft.com/office/drawing/2014/main" id="{03562ECA-FC5B-8C48-9407-AD820464538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E89143D6-3614-7F4D-9664-3E594E7EF10C}"/>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9" name="TextBox 18">
            <a:extLst>
              <a:ext uri="{FF2B5EF4-FFF2-40B4-BE49-F238E27FC236}">
                <a16:creationId xmlns:a16="http://schemas.microsoft.com/office/drawing/2014/main" id="{AB1D9F85-7794-B645-8BEB-1AD8CE917621}"/>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E1445BA3-28D6-46A7-BDA7-277F48B4B505}"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846070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01 - Green">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1" name="Group 20">
            <a:extLst>
              <a:ext uri="{FF2B5EF4-FFF2-40B4-BE49-F238E27FC236}">
                <a16:creationId xmlns:a16="http://schemas.microsoft.com/office/drawing/2014/main" id="{88784723-4AFA-4742-ADCB-358652FF6F72}"/>
              </a:ext>
            </a:extLst>
          </p:cNvPr>
          <p:cNvGrpSpPr/>
          <p:nvPr userDrawn="1"/>
        </p:nvGrpSpPr>
        <p:grpSpPr>
          <a:xfrm>
            <a:off x="0" y="1"/>
            <a:ext cx="12192000" cy="1039905"/>
            <a:chOff x="0" y="0"/>
            <a:chExt cx="14630400" cy="1524787"/>
          </a:xfrm>
        </p:grpSpPr>
        <p:sp>
          <p:nvSpPr>
            <p:cNvPr id="22" name="object 2">
              <a:extLst>
                <a:ext uri="{FF2B5EF4-FFF2-40B4-BE49-F238E27FC236}">
                  <a16:creationId xmlns:a16="http://schemas.microsoft.com/office/drawing/2014/main" id="{4F62F695-717D-374C-802D-7FEBEAD6FE46}"/>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401A2AFC-F9E5-4C2C-86A5-A2138763F4A3}"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3064571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02 - Green">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90729F0B-7D7C-4E45-A2F5-2638A8899581}"/>
              </a:ext>
            </a:extLst>
          </p:cNvPr>
          <p:cNvGrpSpPr/>
          <p:nvPr userDrawn="1"/>
        </p:nvGrpSpPr>
        <p:grpSpPr>
          <a:xfrm>
            <a:off x="0" y="1"/>
            <a:ext cx="12192000" cy="1039905"/>
            <a:chOff x="0" y="0"/>
            <a:chExt cx="14630400" cy="1524787"/>
          </a:xfrm>
        </p:grpSpPr>
        <p:sp>
          <p:nvSpPr>
            <p:cNvPr id="39" name="object 2">
              <a:extLst>
                <a:ext uri="{FF2B5EF4-FFF2-40B4-BE49-F238E27FC236}">
                  <a16:creationId xmlns:a16="http://schemas.microsoft.com/office/drawing/2014/main" id="{0A7B2C8C-0511-364F-88EC-07A6DFE862AA}"/>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1" name="Title 23">
            <a:extLst>
              <a:ext uri="{FF2B5EF4-FFF2-40B4-BE49-F238E27FC236}">
                <a16:creationId xmlns:a16="http://schemas.microsoft.com/office/drawing/2014/main" id="{DBD66D1A-0C25-3743-96E4-E9D4CA69E78E}"/>
              </a:ext>
            </a:extLst>
          </p:cNvPr>
          <p:cNvSpPr>
            <a:spLocks noGrp="1"/>
          </p:cNvSpPr>
          <p:nvPr>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D58C6EF6-D988-4508-9F95-598B01A890F3}"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22049235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03 - Green">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5E884C35-876C-42C0-846F-17D37F8ADA9E}"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6AA5A1DE-1C37-9C49-AEAC-CD84F8249698}"/>
              </a:ext>
            </a:extLst>
          </p:cNvPr>
          <p:cNvGrpSpPr/>
          <p:nvPr userDrawn="1"/>
        </p:nvGrpSpPr>
        <p:grpSpPr>
          <a:xfrm>
            <a:off x="0" y="1"/>
            <a:ext cx="12192000" cy="1039905"/>
            <a:chOff x="0" y="0"/>
            <a:chExt cx="14630400" cy="1524787"/>
          </a:xfrm>
        </p:grpSpPr>
        <p:sp>
          <p:nvSpPr>
            <p:cNvPr id="31" name="object 2">
              <a:extLst>
                <a:ext uri="{FF2B5EF4-FFF2-40B4-BE49-F238E27FC236}">
                  <a16:creationId xmlns:a16="http://schemas.microsoft.com/office/drawing/2014/main" id="{81C8B496-17AD-854B-86A7-46CFE4A24FA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792589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01 - Blue">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2" name="object 2">
            <a:extLst>
              <a:ext uri="{FF2B5EF4-FFF2-40B4-BE49-F238E27FC236}">
                <a16:creationId xmlns:a16="http://schemas.microsoft.com/office/drawing/2014/main" id="{4F62F695-717D-374C-802D-7FEBEAD6FE46}"/>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6" name="Title 23">
            <a:extLst>
              <a:ext uri="{FF2B5EF4-FFF2-40B4-BE49-F238E27FC236}">
                <a16:creationId xmlns:a16="http://schemas.microsoft.com/office/drawing/2014/main" id="{4085826A-7691-1843-B06C-82034F1F58ED}"/>
              </a:ext>
            </a:extLst>
          </p:cNvPr>
          <p:cNvSpPr>
            <a:spLocks noGrp="1"/>
          </p:cNvSpPr>
          <p:nvPr userDrawn="1">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userDrawn="1">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userDrawn="1">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39EB08D2-BD96-4E45-8E02-BA938AEA62A2}"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userDrawn="1">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35788223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02 - Blue">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41" name="Title 23">
            <a:extLst>
              <a:ext uri="{FF2B5EF4-FFF2-40B4-BE49-F238E27FC236}">
                <a16:creationId xmlns:a16="http://schemas.microsoft.com/office/drawing/2014/main" id="{DBD66D1A-0C25-3743-96E4-E9D4CA69E78E}"/>
              </a:ext>
            </a:extLst>
          </p:cNvPr>
          <p:cNvSpPr>
            <a:spLocks noGrp="1"/>
          </p:cNvSpPr>
          <p:nvPr userDrawn="1">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3D5DB797-EBA3-496B-BADB-726FB2728F86}"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userDrawn="1">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userDrawn="1">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18832337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02">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3" name="Picture 12" descr="Logo&#10;&#10;Description automatically generated">
            <a:extLst>
              <a:ext uri="{FF2B5EF4-FFF2-40B4-BE49-F238E27FC236}">
                <a16:creationId xmlns:a16="http://schemas.microsoft.com/office/drawing/2014/main" id="{300F8038-07AD-D74D-B60A-B27469049C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pic>
        <p:nvPicPr>
          <p:cNvPr id="5" name="Picture 4" descr="A field of wheat&#10;&#10;Description automatically generated with low confidence">
            <a:extLst>
              <a:ext uri="{FF2B5EF4-FFF2-40B4-BE49-F238E27FC236}">
                <a16:creationId xmlns:a16="http://schemas.microsoft.com/office/drawing/2014/main" id="{4D80C582-45B7-B44A-9302-CBE5B8CDD74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4289" y="0"/>
            <a:ext cx="7526732" cy="6858000"/>
          </a:xfrm>
          <a:prstGeom prst="rect">
            <a:avLst/>
          </a:prstGeom>
        </p:spPr>
      </p:pic>
      <p:sp>
        <p:nvSpPr>
          <p:cNvPr id="26" name="Picture Placeholder 25"/>
          <p:cNvSpPr>
            <a:spLocks noGrp="1"/>
          </p:cNvSpPr>
          <p:nvPr>
            <p:ph type="pic" sz="quarter" idx="12"/>
          </p:nvPr>
        </p:nvSpPr>
        <p:spPr>
          <a:xfrm>
            <a:off x="0" y="11788"/>
            <a:ext cx="7526731" cy="6858000"/>
          </a:xfrm>
        </p:spPr>
        <p:txBody>
          <a:bodyPr anchor="ctr">
            <a:normAutofit/>
          </a:bodyPr>
          <a:lstStyle>
            <a:lvl1pPr marL="0" indent="0" algn="ctr">
              <a:buNone/>
              <a:defRPr sz="1800"/>
            </a:lvl1pPr>
          </a:lstStyle>
          <a:p>
            <a:endParaRPr lang="en-US"/>
          </a:p>
        </p:txBody>
      </p:sp>
    </p:spTree>
    <p:extLst>
      <p:ext uri="{BB962C8B-B14F-4D97-AF65-F5344CB8AC3E}">
        <p14:creationId xmlns:p14="http://schemas.microsoft.com/office/powerpoint/2010/main" val="216198380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03 - Blue">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4C099D8F-D374-4DD2-B15D-E1A4E5A4D5CC}"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userDrawn="1">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userDrawn="1">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userDrawn="1">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userDrawn="1">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50874705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01">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a:ln>
            <a:noFill/>
          </a:ln>
        </p:spPr>
        <p:txBody>
          <a:bodyPr wrap="square" lIns="0" tIns="0" rIns="0" bIns="0" rtlCol="0"/>
          <a:lstStyle/>
          <a:p>
            <a:pPr algn="ctr"/>
            <a:endParaRPr>
              <a:solidFill>
                <a:schemeClr val="accent3"/>
              </a:solidFill>
            </a:endParaRPr>
          </a:p>
        </p:txBody>
      </p:sp>
      <p:sp>
        <p:nvSpPr>
          <p:cNvPr id="25" name="Text Placeholder 2">
            <a:extLst>
              <a:ext uri="{FF2B5EF4-FFF2-40B4-BE49-F238E27FC236}">
                <a16:creationId xmlns:a16="http://schemas.microsoft.com/office/drawing/2014/main" id="{7E89A75F-199B-D74E-9E7C-2B147373EE6E}"/>
              </a:ext>
            </a:extLst>
          </p:cNvPr>
          <p:cNvSpPr>
            <a:spLocks noGrp="1"/>
          </p:cNvSpPr>
          <p:nvPr>
            <p:ph type="body" sz="quarter" idx="26"/>
          </p:nvPr>
        </p:nvSpPr>
        <p:spPr>
          <a:xfrm>
            <a:off x="438850"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7257"/>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846328" y="670181"/>
            <a:ext cx="10515600" cy="883666"/>
          </a:xfrm>
        </p:spPr>
        <p:txBody>
          <a:bodyPr>
            <a:noAutofit/>
          </a:bodyPr>
          <a:lstStyle>
            <a:lvl1pPr algn="ctr">
              <a:defRPr sz="40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1876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373584" y="310046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87568"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788448"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34744"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70797"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06933"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1F13155A-73E8-46B7-9A0A-76053844794C}"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30" name="Text Placeholder 2">
            <a:extLst>
              <a:ext uri="{FF2B5EF4-FFF2-40B4-BE49-F238E27FC236}">
                <a16:creationId xmlns:a16="http://schemas.microsoft.com/office/drawing/2014/main" id="{6E791674-06AF-9849-B5D3-C736E8F2C6F9}"/>
              </a:ext>
            </a:extLst>
          </p:cNvPr>
          <p:cNvSpPr>
            <a:spLocks noGrp="1"/>
          </p:cNvSpPr>
          <p:nvPr>
            <p:ph type="body" sz="quarter" idx="27"/>
          </p:nvPr>
        </p:nvSpPr>
        <p:spPr>
          <a:xfrm>
            <a:off x="4541561"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1" name="Text Placeholder 2">
            <a:extLst>
              <a:ext uri="{FF2B5EF4-FFF2-40B4-BE49-F238E27FC236}">
                <a16:creationId xmlns:a16="http://schemas.microsoft.com/office/drawing/2014/main" id="{A1E65449-ABFF-EE4C-9268-A2EA0829DED2}"/>
              </a:ext>
            </a:extLst>
          </p:cNvPr>
          <p:cNvSpPr>
            <a:spLocks noGrp="1"/>
          </p:cNvSpPr>
          <p:nvPr>
            <p:ph type="body" sz="quarter" idx="28"/>
          </p:nvPr>
        </p:nvSpPr>
        <p:spPr>
          <a:xfrm>
            <a:off x="8596713"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89734136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02">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0"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31" name="object 2">
            <a:extLst>
              <a:ext uri="{FF2B5EF4-FFF2-40B4-BE49-F238E27FC236}">
                <a16:creationId xmlns:a16="http://schemas.microsoft.com/office/drawing/2014/main" id="{79FFFCFB-871D-6B48-A68E-6C6B6416096A}"/>
              </a:ext>
            </a:extLst>
          </p:cNvPr>
          <p:cNvSpPr/>
          <p:nvPr userDrawn="1"/>
        </p:nvSpPr>
        <p:spPr>
          <a:xfrm>
            <a:off x="4058562"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30" name="object 2">
            <a:extLst>
              <a:ext uri="{FF2B5EF4-FFF2-40B4-BE49-F238E27FC236}">
                <a16:creationId xmlns:a16="http://schemas.microsoft.com/office/drawing/2014/main" id="{ABAEA6B8-7DEA-9F44-9E74-B5D5A97A4C46}"/>
              </a:ext>
            </a:extLst>
          </p:cNvPr>
          <p:cNvSpPr/>
          <p:nvPr userDrawn="1"/>
        </p:nvSpPr>
        <p:spPr>
          <a:xfrm>
            <a:off x="8117899"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27" name="bk object 16">
            <a:extLst>
              <a:ext uri="{FF2B5EF4-FFF2-40B4-BE49-F238E27FC236}">
                <a16:creationId xmlns:a16="http://schemas.microsoft.com/office/drawing/2014/main" id="{F7B57EDB-1461-3043-9229-E742D69D9BBB}"/>
              </a:ext>
            </a:extLst>
          </p:cNvPr>
          <p:cNvSpPr/>
          <p:nvPr/>
        </p:nvSpPr>
        <p:spPr>
          <a:xfrm>
            <a:off x="-6782" y="-8305"/>
            <a:ext cx="12201939" cy="116046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503233" y="377688"/>
            <a:ext cx="11174387" cy="883666"/>
          </a:xfrm>
        </p:spPr>
        <p:txBody>
          <a:bodyPr>
            <a:noAutofit/>
          </a:bodyPr>
          <a:lstStyle>
            <a:lvl1pPr>
              <a:defRPr sz="35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31515"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437578"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2" name="Text Placeholder 41">
            <a:extLst>
              <a:ext uri="{FF2B5EF4-FFF2-40B4-BE49-F238E27FC236}">
                <a16:creationId xmlns:a16="http://schemas.microsoft.com/office/drawing/2014/main" id="{5FD68BD9-5CD9-7A4A-BABD-0A9E824874B3}"/>
              </a:ext>
            </a:extLst>
          </p:cNvPr>
          <p:cNvSpPr>
            <a:spLocks noGrp="1"/>
          </p:cNvSpPr>
          <p:nvPr>
            <p:ph type="body" sz="quarter" idx="17" hasCustomPrompt="1"/>
          </p:nvPr>
        </p:nvSpPr>
        <p:spPr>
          <a:xfrm>
            <a:off x="514379" y="265817"/>
            <a:ext cx="11143259" cy="377825"/>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ENTER YOUR SUBTITLE ALL-CAPS</a:t>
            </a:r>
          </a:p>
        </p:txBody>
      </p: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97507"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814163"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60459"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95969"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42265"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4" name="object 14">
            <a:extLst>
              <a:ext uri="{FF2B5EF4-FFF2-40B4-BE49-F238E27FC236}">
                <a16:creationId xmlns:a16="http://schemas.microsoft.com/office/drawing/2014/main" id="{1C69DED8-643C-6E49-A069-700362109F72}"/>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rgbClr val="0052DB"/>
          </a:solidFill>
          <a:ln>
            <a:noFill/>
          </a:ln>
        </p:spPr>
        <p:txBody>
          <a:bodyPr wrap="square" lIns="0" tIns="0" rIns="0" bIns="0" rtlCol="0"/>
          <a:lstStyle/>
          <a:p>
            <a:endParaRPr/>
          </a:p>
        </p:txBody>
      </p:sp>
      <p:sp>
        <p:nvSpPr>
          <p:cNvPr id="25" name="TextBox 24">
            <a:extLst>
              <a:ext uri="{FF2B5EF4-FFF2-40B4-BE49-F238E27FC236}">
                <a16:creationId xmlns:a16="http://schemas.microsoft.com/office/drawing/2014/main" id="{331AA08D-438E-294D-B233-36A79EB9AE7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8" name="TextBox 27">
            <a:extLst>
              <a:ext uri="{FF2B5EF4-FFF2-40B4-BE49-F238E27FC236}">
                <a16:creationId xmlns:a16="http://schemas.microsoft.com/office/drawing/2014/main" id="{BB6BB682-8B16-0D4F-B52B-20D85F1EC7C3}"/>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2066E42F-F749-4470-B3B1-C6DFB0AEE3CF}"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9" name="object 3">
            <a:extLst>
              <a:ext uri="{FF2B5EF4-FFF2-40B4-BE49-F238E27FC236}">
                <a16:creationId xmlns:a16="http://schemas.microsoft.com/office/drawing/2014/main" id="{79AB6187-F2A0-FC46-B74D-0A946665D99C}"/>
              </a:ext>
            </a:extLst>
          </p:cNvPr>
          <p:cNvSpPr/>
          <p:nvPr userDrawn="1"/>
        </p:nvSpPr>
        <p:spPr>
          <a:xfrm>
            <a:off x="-1811" y="1152158"/>
            <a:ext cx="12201939"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sp>
        <p:nvSpPr>
          <p:cNvPr id="34" name="Text Placeholder 2">
            <a:extLst>
              <a:ext uri="{FF2B5EF4-FFF2-40B4-BE49-F238E27FC236}">
                <a16:creationId xmlns:a16="http://schemas.microsoft.com/office/drawing/2014/main" id="{E84C67AA-50F8-7247-AEEA-8C7461851C65}"/>
              </a:ext>
            </a:extLst>
          </p:cNvPr>
          <p:cNvSpPr>
            <a:spLocks noGrp="1"/>
          </p:cNvSpPr>
          <p:nvPr>
            <p:ph type="body" sz="quarter" idx="26"/>
          </p:nvPr>
        </p:nvSpPr>
        <p:spPr>
          <a:xfrm>
            <a:off x="547212"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9" name="Text Placeholder 2">
            <a:extLst>
              <a:ext uri="{FF2B5EF4-FFF2-40B4-BE49-F238E27FC236}">
                <a16:creationId xmlns:a16="http://schemas.microsoft.com/office/drawing/2014/main" id="{AFF5D9AB-1133-1A4D-9285-F147791A9C65}"/>
              </a:ext>
            </a:extLst>
          </p:cNvPr>
          <p:cNvSpPr>
            <a:spLocks noGrp="1"/>
          </p:cNvSpPr>
          <p:nvPr>
            <p:ph type="body" sz="quarter" idx="27"/>
          </p:nvPr>
        </p:nvSpPr>
        <p:spPr>
          <a:xfrm>
            <a:off x="4605774"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41" name="Text Placeholder 2">
            <a:extLst>
              <a:ext uri="{FF2B5EF4-FFF2-40B4-BE49-F238E27FC236}">
                <a16:creationId xmlns:a16="http://schemas.microsoft.com/office/drawing/2014/main" id="{1AC9D599-050A-AA4E-B159-60A4490F3869}"/>
              </a:ext>
            </a:extLst>
          </p:cNvPr>
          <p:cNvSpPr>
            <a:spLocks noGrp="1"/>
          </p:cNvSpPr>
          <p:nvPr>
            <p:ph type="body" sz="quarter" idx="28"/>
          </p:nvPr>
        </p:nvSpPr>
        <p:spPr>
          <a:xfrm>
            <a:off x="8675051"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2323982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1" name="object 2">
            <a:extLst>
              <a:ext uri="{FF2B5EF4-FFF2-40B4-BE49-F238E27FC236}">
                <a16:creationId xmlns:a16="http://schemas.microsoft.com/office/drawing/2014/main" id="{AF9EEA82-5990-F847-8B4D-E725893922FD}"/>
              </a:ext>
            </a:extLst>
          </p:cNvPr>
          <p:cNvSpPr/>
          <p:nvPr userDrawn="1"/>
        </p:nvSpPr>
        <p:spPr>
          <a:xfrm>
            <a:off x="47989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2" name="object 2">
            <a:extLst>
              <a:ext uri="{FF2B5EF4-FFF2-40B4-BE49-F238E27FC236}">
                <a16:creationId xmlns:a16="http://schemas.microsoft.com/office/drawing/2014/main" id="{15E19BCA-6990-FF4D-BF2F-57B5929A6AB4}"/>
              </a:ext>
            </a:extLst>
          </p:cNvPr>
          <p:cNvSpPr/>
          <p:nvPr userDrawn="1"/>
        </p:nvSpPr>
        <p:spPr>
          <a:xfrm>
            <a:off x="72881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53" name="object 2">
            <a:extLst>
              <a:ext uri="{FF2B5EF4-FFF2-40B4-BE49-F238E27FC236}">
                <a16:creationId xmlns:a16="http://schemas.microsoft.com/office/drawing/2014/main" id="{39124CAF-DA73-9D41-A0F0-4525946FEACF}"/>
              </a:ext>
            </a:extLst>
          </p:cNvPr>
          <p:cNvSpPr/>
          <p:nvPr userDrawn="1"/>
        </p:nvSpPr>
        <p:spPr>
          <a:xfrm>
            <a:off x="9764600" y="0"/>
            <a:ext cx="242740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4" name="object 2">
            <a:extLst>
              <a:ext uri="{FF2B5EF4-FFF2-40B4-BE49-F238E27FC236}">
                <a16:creationId xmlns:a16="http://schemas.microsoft.com/office/drawing/2014/main" id="{4913DA6F-DBCF-0141-B7AD-DBA48355ABDB}"/>
              </a:ext>
            </a:extLst>
          </p:cNvPr>
          <p:cNvSpPr/>
          <p:nvPr userDrawn="1"/>
        </p:nvSpPr>
        <p:spPr>
          <a:xfrm>
            <a:off x="0" y="0"/>
            <a:ext cx="23280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8" name="object 2">
            <a:extLst>
              <a:ext uri="{FF2B5EF4-FFF2-40B4-BE49-F238E27FC236}">
                <a16:creationId xmlns:a16="http://schemas.microsoft.com/office/drawing/2014/main" id="{E00BF257-0D6D-8141-A7E4-83D491757120}"/>
              </a:ext>
            </a:extLst>
          </p:cNvPr>
          <p:cNvSpPr/>
          <p:nvPr userDrawn="1"/>
        </p:nvSpPr>
        <p:spPr>
          <a:xfrm>
            <a:off x="23097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64" name="Straight Connector 63">
            <a:extLst>
              <a:ext uri="{FF2B5EF4-FFF2-40B4-BE49-F238E27FC236}">
                <a16:creationId xmlns:a16="http://schemas.microsoft.com/office/drawing/2014/main" id="{DB31E5A3-020D-7E4F-A87B-5A45BF3BB613}"/>
              </a:ext>
            </a:extLst>
          </p:cNvPr>
          <p:cNvCxnSpPr/>
          <p:nvPr userDrawn="1"/>
        </p:nvCxnSpPr>
        <p:spPr>
          <a:xfrm>
            <a:off x="390593"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6D76473E-B6B4-964B-B0EC-72FDC57362A2}"/>
              </a:ext>
            </a:extLst>
          </p:cNvPr>
          <p:cNvCxnSpPr/>
          <p:nvPr userDrawn="1"/>
        </p:nvCxnSpPr>
        <p:spPr>
          <a:xfrm>
            <a:off x="2779874"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57E0E07-3915-B04B-8AFC-0F7840CB2A08}"/>
              </a:ext>
            </a:extLst>
          </p:cNvPr>
          <p:cNvCxnSpPr/>
          <p:nvPr userDrawn="1"/>
        </p:nvCxnSpPr>
        <p:spPr>
          <a:xfrm>
            <a:off x="5308117"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B8BAAAA-1FC8-504B-8F64-E895C8F23CD0}"/>
              </a:ext>
            </a:extLst>
          </p:cNvPr>
          <p:cNvCxnSpPr/>
          <p:nvPr userDrawn="1"/>
        </p:nvCxnSpPr>
        <p:spPr>
          <a:xfrm>
            <a:off x="7755482"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2251DFE-9E58-6E44-BFE8-816852ACB3C8}"/>
              </a:ext>
            </a:extLst>
          </p:cNvPr>
          <p:cNvCxnSpPr/>
          <p:nvPr userDrawn="1"/>
        </p:nvCxnSpPr>
        <p:spPr>
          <a:xfrm>
            <a:off x="10243938"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C8ED9459-6CCA-8A4F-925C-EE8B944C3E81}"/>
              </a:ext>
            </a:extLst>
          </p:cNvPr>
          <p:cNvSpPr>
            <a:spLocks noGrp="1"/>
          </p:cNvSpPr>
          <p:nvPr userDrawn="1">
            <p:ph type="body" sz="quarter" idx="24" hasCustomPrompt="1"/>
          </p:nvPr>
        </p:nvSpPr>
        <p:spPr>
          <a:xfrm>
            <a:off x="242321"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4" name="Text Placeholder 4">
            <a:extLst>
              <a:ext uri="{FF2B5EF4-FFF2-40B4-BE49-F238E27FC236}">
                <a16:creationId xmlns:a16="http://schemas.microsoft.com/office/drawing/2014/main" id="{E4C36B83-1666-F442-9A9A-8D7FD9AB4538}"/>
              </a:ext>
            </a:extLst>
          </p:cNvPr>
          <p:cNvSpPr>
            <a:spLocks noGrp="1"/>
          </p:cNvSpPr>
          <p:nvPr userDrawn="1">
            <p:ph type="body" sz="quarter" idx="29" hasCustomPrompt="1"/>
          </p:nvPr>
        </p:nvSpPr>
        <p:spPr>
          <a:xfrm>
            <a:off x="262597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5" name="Text Placeholder 4">
            <a:extLst>
              <a:ext uri="{FF2B5EF4-FFF2-40B4-BE49-F238E27FC236}">
                <a16:creationId xmlns:a16="http://schemas.microsoft.com/office/drawing/2014/main" id="{593A6492-91F9-0E4D-ADAB-7C1320DB1904}"/>
              </a:ext>
            </a:extLst>
          </p:cNvPr>
          <p:cNvSpPr>
            <a:spLocks noGrp="1"/>
          </p:cNvSpPr>
          <p:nvPr userDrawn="1">
            <p:ph type="body" sz="quarter" idx="30" hasCustomPrompt="1"/>
          </p:nvPr>
        </p:nvSpPr>
        <p:spPr>
          <a:xfrm>
            <a:off x="5125568"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6" name="Text Placeholder 4">
            <a:extLst>
              <a:ext uri="{FF2B5EF4-FFF2-40B4-BE49-F238E27FC236}">
                <a16:creationId xmlns:a16="http://schemas.microsoft.com/office/drawing/2014/main" id="{9EBBEBFD-0D8B-494F-9069-98CE3ACC2FD0}"/>
              </a:ext>
            </a:extLst>
          </p:cNvPr>
          <p:cNvSpPr>
            <a:spLocks noGrp="1"/>
          </p:cNvSpPr>
          <p:nvPr userDrawn="1">
            <p:ph type="body" sz="quarter" idx="31" hasCustomPrompt="1"/>
          </p:nvPr>
        </p:nvSpPr>
        <p:spPr>
          <a:xfrm>
            <a:off x="760529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7" name="Text Placeholder 4">
            <a:extLst>
              <a:ext uri="{FF2B5EF4-FFF2-40B4-BE49-F238E27FC236}">
                <a16:creationId xmlns:a16="http://schemas.microsoft.com/office/drawing/2014/main" id="{3D48B941-4416-AE48-89CF-A7CE72EFEE49}"/>
              </a:ext>
            </a:extLst>
          </p:cNvPr>
          <p:cNvSpPr>
            <a:spLocks noGrp="1"/>
          </p:cNvSpPr>
          <p:nvPr userDrawn="1">
            <p:ph type="body" sz="quarter" idx="32" hasCustomPrompt="1"/>
          </p:nvPr>
        </p:nvSpPr>
        <p:spPr>
          <a:xfrm>
            <a:off x="10052787" y="1500435"/>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40" name="object 14">
            <a:extLst>
              <a:ext uri="{FF2B5EF4-FFF2-40B4-BE49-F238E27FC236}">
                <a16:creationId xmlns:a16="http://schemas.microsoft.com/office/drawing/2014/main" id="{9850939C-CC9F-424C-B270-A177E64B99E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41" name="TextBox 40">
            <a:extLst>
              <a:ext uri="{FF2B5EF4-FFF2-40B4-BE49-F238E27FC236}">
                <a16:creationId xmlns:a16="http://schemas.microsoft.com/office/drawing/2014/main" id="{3ED66A23-7982-7B43-8947-A4D2ECCAF93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42" name="TextBox 41">
            <a:extLst>
              <a:ext uri="{FF2B5EF4-FFF2-40B4-BE49-F238E27FC236}">
                <a16:creationId xmlns:a16="http://schemas.microsoft.com/office/drawing/2014/main" id="{743141BE-F63B-7E4D-A54E-9706B74501B9}"/>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C14D8DE0-049C-4893-B5AF-3EC521A9FDC0}"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1F340385-6A4B-664A-8CBF-3D149D520505}"/>
              </a:ext>
            </a:extLst>
          </p:cNvPr>
          <p:cNvGrpSpPr/>
          <p:nvPr userDrawn="1"/>
        </p:nvGrpSpPr>
        <p:grpSpPr>
          <a:xfrm>
            <a:off x="0" y="1"/>
            <a:ext cx="12192000" cy="1039905"/>
            <a:chOff x="0" y="0"/>
            <a:chExt cx="14630400" cy="1524787"/>
          </a:xfrm>
        </p:grpSpPr>
        <p:sp>
          <p:nvSpPr>
            <p:cNvPr id="37" name="object 2">
              <a:extLst>
                <a:ext uri="{FF2B5EF4-FFF2-40B4-BE49-F238E27FC236}">
                  <a16:creationId xmlns:a16="http://schemas.microsoft.com/office/drawing/2014/main" id="{8B9E3A6C-84CD-5A4B-B2CE-DB99E247309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8" name="object 3">
              <a:extLst>
                <a:ext uri="{FF2B5EF4-FFF2-40B4-BE49-F238E27FC236}">
                  <a16:creationId xmlns:a16="http://schemas.microsoft.com/office/drawing/2014/main" id="{3F727E51-840E-D54F-AA7D-03BAE398CBE0}"/>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3" name="Title 23">
            <a:extLst>
              <a:ext uri="{FF2B5EF4-FFF2-40B4-BE49-F238E27FC236}">
                <a16:creationId xmlns:a16="http://schemas.microsoft.com/office/drawing/2014/main" id="{78D9CE9E-B3F6-B24C-9944-5A28362BC805}"/>
              </a:ext>
            </a:extLst>
          </p:cNvPr>
          <p:cNvSpPr>
            <a:spLocks noGrp="1"/>
          </p:cNvSpPr>
          <p:nvPr>
            <p:ph type="title"/>
          </p:nvPr>
        </p:nvSpPr>
        <p:spPr>
          <a:xfrm>
            <a:off x="609232" y="168310"/>
            <a:ext cx="10973168"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32" name="Text Placeholder 2">
            <a:extLst>
              <a:ext uri="{FF2B5EF4-FFF2-40B4-BE49-F238E27FC236}">
                <a16:creationId xmlns:a16="http://schemas.microsoft.com/office/drawing/2014/main" id="{D4751065-9A78-254F-9A6E-0EE07F6D1173}"/>
              </a:ext>
            </a:extLst>
          </p:cNvPr>
          <p:cNvSpPr>
            <a:spLocks noGrp="1"/>
          </p:cNvSpPr>
          <p:nvPr>
            <p:ph type="body" sz="quarter" idx="17"/>
          </p:nvPr>
        </p:nvSpPr>
        <p:spPr>
          <a:xfrm>
            <a:off x="2423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3" name="Text Placeholder 2">
            <a:extLst>
              <a:ext uri="{FF2B5EF4-FFF2-40B4-BE49-F238E27FC236}">
                <a16:creationId xmlns:a16="http://schemas.microsoft.com/office/drawing/2014/main" id="{F1C068CD-C650-1D48-8F03-0427B38B639B}"/>
              </a:ext>
            </a:extLst>
          </p:cNvPr>
          <p:cNvSpPr>
            <a:spLocks noGrp="1"/>
          </p:cNvSpPr>
          <p:nvPr>
            <p:ph type="body" sz="quarter" idx="33"/>
          </p:nvPr>
        </p:nvSpPr>
        <p:spPr>
          <a:xfrm>
            <a:off x="2636313"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5" name="Text Placeholder 2">
            <a:extLst>
              <a:ext uri="{FF2B5EF4-FFF2-40B4-BE49-F238E27FC236}">
                <a16:creationId xmlns:a16="http://schemas.microsoft.com/office/drawing/2014/main" id="{4F888638-C8D0-314F-BFB6-71437DA9D5F6}"/>
              </a:ext>
            </a:extLst>
          </p:cNvPr>
          <p:cNvSpPr>
            <a:spLocks noGrp="1"/>
          </p:cNvSpPr>
          <p:nvPr>
            <p:ph type="body" sz="quarter" idx="34"/>
          </p:nvPr>
        </p:nvSpPr>
        <p:spPr>
          <a:xfrm>
            <a:off x="512925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49" name="Text Placeholder 2">
            <a:extLst>
              <a:ext uri="{FF2B5EF4-FFF2-40B4-BE49-F238E27FC236}">
                <a16:creationId xmlns:a16="http://schemas.microsoft.com/office/drawing/2014/main" id="{EF9F160F-57D2-9246-A8A0-73575DEC44DF}"/>
              </a:ext>
            </a:extLst>
          </p:cNvPr>
          <p:cNvSpPr>
            <a:spLocks noGrp="1"/>
          </p:cNvSpPr>
          <p:nvPr>
            <p:ph type="body" sz="quarter" idx="35"/>
          </p:nvPr>
        </p:nvSpPr>
        <p:spPr>
          <a:xfrm>
            <a:off x="76128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50" name="Text Placeholder 2">
            <a:extLst>
              <a:ext uri="{FF2B5EF4-FFF2-40B4-BE49-F238E27FC236}">
                <a16:creationId xmlns:a16="http://schemas.microsoft.com/office/drawing/2014/main" id="{8897BF13-3B60-0A44-9B4C-A6E1BFCBEAFF}"/>
              </a:ext>
            </a:extLst>
          </p:cNvPr>
          <p:cNvSpPr>
            <a:spLocks noGrp="1"/>
          </p:cNvSpPr>
          <p:nvPr>
            <p:ph type="body" sz="quarter" idx="36"/>
          </p:nvPr>
        </p:nvSpPr>
        <p:spPr>
          <a:xfrm>
            <a:off x="10052786"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414371573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08">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5794873" y="0"/>
            <a:ext cx="6397128"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18" name="Text Placeholder 2">
            <a:extLst>
              <a:ext uri="{FF2B5EF4-FFF2-40B4-BE49-F238E27FC236}">
                <a16:creationId xmlns:a16="http://schemas.microsoft.com/office/drawing/2014/main" id="{203BC5CC-CAA3-D049-9685-2BC1EA3EB9FF}"/>
              </a:ext>
            </a:extLst>
          </p:cNvPr>
          <p:cNvSpPr>
            <a:spLocks noGrp="1"/>
          </p:cNvSpPr>
          <p:nvPr>
            <p:ph type="body" sz="quarter" idx="16"/>
          </p:nvPr>
        </p:nvSpPr>
        <p:spPr>
          <a:xfrm>
            <a:off x="6323078" y="2201707"/>
            <a:ext cx="5346814" cy="3921871"/>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6324076" y="1633403"/>
            <a:ext cx="4762824" cy="492492"/>
          </a:xfrm>
        </p:spPr>
        <p:txBody>
          <a:bodyPr>
            <a:noAutofit/>
          </a:bodyPr>
          <a:lstStyle>
            <a:lvl1pPr algn="l">
              <a:defRPr sz="3500" b="1">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6410011" y="1134188"/>
            <a:ext cx="412305" cy="42340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6504050" y="1222243"/>
            <a:ext cx="211536" cy="273638"/>
          </a:xfrm>
        </p:spPr>
        <p:txBody>
          <a:bodyPr anchor="ctr"/>
          <a:lstStyle>
            <a:lvl1pPr algn="ctr">
              <a:buNone/>
              <a:defRPr sz="20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5" name="Picture Placeholder 4">
            <a:extLst>
              <a:ext uri="{FF2B5EF4-FFF2-40B4-BE49-F238E27FC236}">
                <a16:creationId xmlns:a16="http://schemas.microsoft.com/office/drawing/2014/main" id="{24516C56-B7D0-2043-88BA-8E3EAEBDB88B}"/>
              </a:ext>
            </a:extLst>
          </p:cNvPr>
          <p:cNvSpPr>
            <a:spLocks noGrp="1"/>
          </p:cNvSpPr>
          <p:nvPr>
            <p:ph type="pic" sz="quarter" idx="24"/>
          </p:nvPr>
        </p:nvSpPr>
        <p:spPr>
          <a:xfrm>
            <a:off x="0" y="-1"/>
            <a:ext cx="5794375" cy="6604029"/>
          </a:xfrm>
        </p:spPr>
        <p:txBody>
          <a:bodyPr/>
          <a:lstStyle>
            <a:lvl1pPr marL="0" indent="0">
              <a:buNone/>
              <a:defRPr/>
            </a:lvl1pPr>
          </a:lstStyle>
          <a:p>
            <a:endParaRPr lang="en-US"/>
          </a:p>
        </p:txBody>
      </p:sp>
      <p:sp>
        <p:nvSpPr>
          <p:cNvPr id="12" name="object 14">
            <a:extLst>
              <a:ext uri="{FF2B5EF4-FFF2-40B4-BE49-F238E27FC236}">
                <a16:creationId xmlns:a16="http://schemas.microsoft.com/office/drawing/2014/main" id="{482D10F7-2B28-8F42-B116-5443A322C4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0209FAFE-F71C-C545-B273-327A157A031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7" name="TextBox 16">
            <a:extLst>
              <a:ext uri="{FF2B5EF4-FFF2-40B4-BE49-F238E27FC236}">
                <a16:creationId xmlns:a16="http://schemas.microsoft.com/office/drawing/2014/main" id="{872830B3-62CE-324A-95A1-276C02A173C4}"/>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A7012D25-E34F-409F-9499-7DB796D91075}"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1182546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Block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0"/>
            <a:ext cx="4094922" cy="67417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BCF4775-257A-094B-9B35-AF76CEE301EB}"/>
              </a:ext>
            </a:extLst>
          </p:cNvPr>
          <p:cNvSpPr>
            <a:spLocks noGrp="1"/>
          </p:cNvSpPr>
          <p:nvPr>
            <p:ph type="body" sz="quarter" idx="14" hasCustomPrompt="1"/>
          </p:nvPr>
        </p:nvSpPr>
        <p:spPr>
          <a:xfrm>
            <a:off x="192158" y="461708"/>
            <a:ext cx="2881785" cy="2945079"/>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
        <p:nvSpPr>
          <p:cNvPr id="7" name="Rectangle 6">
            <a:extLst>
              <a:ext uri="{FF2B5EF4-FFF2-40B4-BE49-F238E27FC236}">
                <a16:creationId xmlns:a16="http://schemas.microsoft.com/office/drawing/2014/main" id="{792640D3-C16E-3640-ADAB-6A1348541A32}"/>
              </a:ext>
            </a:extLst>
          </p:cNvPr>
          <p:cNvSpPr/>
          <p:nvPr userDrawn="1"/>
        </p:nvSpPr>
        <p:spPr>
          <a:xfrm>
            <a:off x="3484479" y="-2526"/>
            <a:ext cx="3334709" cy="3409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D7AFB1E-6494-D141-AE24-87F3C83310E9}"/>
              </a:ext>
            </a:extLst>
          </p:cNvPr>
          <p:cNvSpPr/>
          <p:nvPr userDrawn="1"/>
        </p:nvSpPr>
        <p:spPr>
          <a:xfrm>
            <a:off x="3482789" y="3406789"/>
            <a:ext cx="5687716" cy="32017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Rectangle 10">
            <a:extLst>
              <a:ext uri="{FF2B5EF4-FFF2-40B4-BE49-F238E27FC236}">
                <a16:creationId xmlns:a16="http://schemas.microsoft.com/office/drawing/2014/main" id="{06C6479F-886E-EF46-AE34-68E3F449F8A4}"/>
              </a:ext>
            </a:extLst>
          </p:cNvPr>
          <p:cNvSpPr/>
          <p:nvPr userDrawn="1"/>
        </p:nvSpPr>
        <p:spPr>
          <a:xfrm>
            <a:off x="9170505" y="3406788"/>
            <a:ext cx="3021495" cy="320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6">
            <a:extLst>
              <a:ext uri="{FF2B5EF4-FFF2-40B4-BE49-F238E27FC236}">
                <a16:creationId xmlns:a16="http://schemas.microsoft.com/office/drawing/2014/main" id="{4FB3F97A-6B5A-4342-AFD3-F66711EB0828}"/>
              </a:ext>
            </a:extLst>
          </p:cNvPr>
          <p:cNvSpPr>
            <a:spLocks noGrp="1"/>
          </p:cNvSpPr>
          <p:nvPr>
            <p:ph type="body" sz="quarter" idx="18" hasCustomPrompt="1"/>
          </p:nvPr>
        </p:nvSpPr>
        <p:spPr>
          <a:xfrm>
            <a:off x="197651"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1 ALL-CAP</a:t>
            </a:r>
          </a:p>
        </p:txBody>
      </p:sp>
      <p:sp>
        <p:nvSpPr>
          <p:cNvPr id="29" name="Text Placeholder 26">
            <a:extLst>
              <a:ext uri="{FF2B5EF4-FFF2-40B4-BE49-F238E27FC236}">
                <a16:creationId xmlns:a16="http://schemas.microsoft.com/office/drawing/2014/main" id="{F6077739-6487-3D40-BCAF-9D06A4A9B850}"/>
              </a:ext>
            </a:extLst>
          </p:cNvPr>
          <p:cNvSpPr>
            <a:spLocks noGrp="1"/>
          </p:cNvSpPr>
          <p:nvPr>
            <p:ph type="body" sz="quarter" idx="20" hasCustomPrompt="1"/>
          </p:nvPr>
        </p:nvSpPr>
        <p:spPr>
          <a:xfrm>
            <a:off x="3694995"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2 ALL-CAP</a:t>
            </a:r>
          </a:p>
        </p:txBody>
      </p:sp>
      <p:sp>
        <p:nvSpPr>
          <p:cNvPr id="10" name="Rectangle 9">
            <a:extLst>
              <a:ext uri="{FF2B5EF4-FFF2-40B4-BE49-F238E27FC236}">
                <a16:creationId xmlns:a16="http://schemas.microsoft.com/office/drawing/2014/main" id="{5396DA42-6DC0-C041-9701-6C97BB14C01C}"/>
              </a:ext>
            </a:extLst>
          </p:cNvPr>
          <p:cNvSpPr/>
          <p:nvPr userDrawn="1"/>
        </p:nvSpPr>
        <p:spPr>
          <a:xfrm>
            <a:off x="6819188" y="-2526"/>
            <a:ext cx="5372811" cy="34093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bject 14">
            <a:extLst>
              <a:ext uri="{FF2B5EF4-FFF2-40B4-BE49-F238E27FC236}">
                <a16:creationId xmlns:a16="http://schemas.microsoft.com/office/drawing/2014/main" id="{B92EC240-4A2E-6E41-A6D9-1435ED03851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06A52DAD-2DF5-784F-86F4-B052C30C59C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7" name="TextBox 16">
            <a:extLst>
              <a:ext uri="{FF2B5EF4-FFF2-40B4-BE49-F238E27FC236}">
                <a16:creationId xmlns:a16="http://schemas.microsoft.com/office/drawing/2014/main" id="{4A5DC5AA-25DE-B54B-8882-C8A159B02E27}"/>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CCC4F4E3-F493-496F-B2D8-27E4D43BA501}"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FD382712-3F37-6C45-BF5E-2E97DC1D81B7}"/>
              </a:ext>
            </a:extLst>
          </p:cNvPr>
          <p:cNvSpPr>
            <a:spLocks noGrp="1"/>
          </p:cNvSpPr>
          <p:nvPr>
            <p:ph type="body" sz="quarter" idx="21" hasCustomPrompt="1"/>
          </p:nvPr>
        </p:nvSpPr>
        <p:spPr>
          <a:xfrm>
            <a:off x="3672169" y="461709"/>
            <a:ext cx="2881785" cy="1549972"/>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Tree>
    <p:extLst>
      <p:ext uri="{BB962C8B-B14F-4D97-AF65-F5344CB8AC3E}">
        <p14:creationId xmlns:p14="http://schemas.microsoft.com/office/powerpoint/2010/main" val="427034349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Blocks with Caption 0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3"/>
            <a:ext cx="6096000" cy="66083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2">
            <a:extLst>
              <a:ext uri="{FF2B5EF4-FFF2-40B4-BE49-F238E27FC236}">
                <a16:creationId xmlns:a16="http://schemas.microsoft.com/office/drawing/2014/main" id="{EEB68EF2-518D-5A42-BF23-D9C86454DC08}"/>
              </a:ext>
            </a:extLst>
          </p:cNvPr>
          <p:cNvSpPr>
            <a:spLocks noGrp="1"/>
          </p:cNvSpPr>
          <p:nvPr>
            <p:ph type="body" sz="quarter" idx="16"/>
          </p:nvPr>
        </p:nvSpPr>
        <p:spPr>
          <a:xfrm>
            <a:off x="356400" y="2926079"/>
            <a:ext cx="5334730" cy="3242945"/>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styles</a:t>
            </a:r>
          </a:p>
          <a:p>
            <a:pPr lvl="4"/>
            <a:r>
              <a:rPr lang="en-US"/>
              <a:t>Click to edit Master styles</a:t>
            </a:r>
          </a:p>
        </p:txBody>
      </p:sp>
      <p:sp>
        <p:nvSpPr>
          <p:cNvPr id="9" name="Picture Placeholder 8">
            <a:extLst>
              <a:ext uri="{FF2B5EF4-FFF2-40B4-BE49-F238E27FC236}">
                <a16:creationId xmlns:a16="http://schemas.microsoft.com/office/drawing/2014/main" id="{95C4A8F5-1301-6E4E-820F-D72B6762D260}"/>
              </a:ext>
            </a:extLst>
          </p:cNvPr>
          <p:cNvSpPr>
            <a:spLocks noGrp="1"/>
          </p:cNvSpPr>
          <p:nvPr>
            <p:ph type="pic" sz="quarter" idx="24"/>
          </p:nvPr>
        </p:nvSpPr>
        <p:spPr>
          <a:xfrm>
            <a:off x="6096000" y="0"/>
            <a:ext cx="3930647" cy="2481897"/>
          </a:xfrm>
        </p:spPr>
        <p:txBody>
          <a:bodyPr/>
          <a:lstStyle/>
          <a:p>
            <a:endParaRPr lang="en-US"/>
          </a:p>
        </p:txBody>
      </p:sp>
      <p:sp>
        <p:nvSpPr>
          <p:cNvPr id="13" name="Picture Placeholder 12">
            <a:extLst>
              <a:ext uri="{FF2B5EF4-FFF2-40B4-BE49-F238E27FC236}">
                <a16:creationId xmlns:a16="http://schemas.microsoft.com/office/drawing/2014/main" id="{0BD0A1DE-F9D2-3744-8173-0216955AB394}"/>
              </a:ext>
            </a:extLst>
          </p:cNvPr>
          <p:cNvSpPr>
            <a:spLocks noGrp="1"/>
          </p:cNvSpPr>
          <p:nvPr>
            <p:ph type="pic" sz="quarter" idx="25"/>
          </p:nvPr>
        </p:nvSpPr>
        <p:spPr>
          <a:xfrm>
            <a:off x="10026648" y="0"/>
            <a:ext cx="2165351" cy="2481897"/>
          </a:xfrm>
        </p:spPr>
        <p:txBody>
          <a:bodyPr/>
          <a:lstStyle/>
          <a:p>
            <a:endParaRPr lang="en-US"/>
          </a:p>
        </p:txBody>
      </p:sp>
      <p:sp>
        <p:nvSpPr>
          <p:cNvPr id="15" name="Picture Placeholder 14">
            <a:extLst>
              <a:ext uri="{FF2B5EF4-FFF2-40B4-BE49-F238E27FC236}">
                <a16:creationId xmlns:a16="http://schemas.microsoft.com/office/drawing/2014/main" id="{A14500EC-100B-6B48-9F07-7540A86AED29}"/>
              </a:ext>
            </a:extLst>
          </p:cNvPr>
          <p:cNvSpPr>
            <a:spLocks noGrp="1"/>
          </p:cNvSpPr>
          <p:nvPr>
            <p:ph type="pic" sz="quarter" idx="26"/>
          </p:nvPr>
        </p:nvSpPr>
        <p:spPr>
          <a:xfrm>
            <a:off x="10026648" y="2487614"/>
            <a:ext cx="2165352" cy="2260900"/>
          </a:xfrm>
        </p:spPr>
        <p:txBody>
          <a:bodyPr/>
          <a:lstStyle/>
          <a:p>
            <a:endParaRPr lang="en-US"/>
          </a:p>
        </p:txBody>
      </p:sp>
      <p:sp>
        <p:nvSpPr>
          <p:cNvPr id="24" name="Picture Placeholder 23">
            <a:extLst>
              <a:ext uri="{FF2B5EF4-FFF2-40B4-BE49-F238E27FC236}">
                <a16:creationId xmlns:a16="http://schemas.microsoft.com/office/drawing/2014/main" id="{A05EE176-26A1-7843-94E4-D20577BD4EE5}"/>
              </a:ext>
            </a:extLst>
          </p:cNvPr>
          <p:cNvSpPr>
            <a:spLocks noGrp="1"/>
          </p:cNvSpPr>
          <p:nvPr>
            <p:ph type="pic" sz="quarter" idx="27"/>
          </p:nvPr>
        </p:nvSpPr>
        <p:spPr>
          <a:xfrm>
            <a:off x="7516813" y="2487612"/>
            <a:ext cx="2509834" cy="2246295"/>
          </a:xfrm>
        </p:spPr>
        <p:txBody>
          <a:bodyPr/>
          <a:lstStyle/>
          <a:p>
            <a:endParaRPr lang="en-US"/>
          </a:p>
        </p:txBody>
      </p:sp>
      <p:sp>
        <p:nvSpPr>
          <p:cNvPr id="26" name="Picture Placeholder 25">
            <a:extLst>
              <a:ext uri="{FF2B5EF4-FFF2-40B4-BE49-F238E27FC236}">
                <a16:creationId xmlns:a16="http://schemas.microsoft.com/office/drawing/2014/main" id="{7D9E9228-6638-AA44-A5ED-3C4AFC6A1C97}"/>
              </a:ext>
            </a:extLst>
          </p:cNvPr>
          <p:cNvSpPr>
            <a:spLocks noGrp="1"/>
          </p:cNvSpPr>
          <p:nvPr>
            <p:ph type="pic" sz="quarter" idx="28"/>
          </p:nvPr>
        </p:nvSpPr>
        <p:spPr>
          <a:xfrm>
            <a:off x="6096000" y="2487614"/>
            <a:ext cx="1420813" cy="2246296"/>
          </a:xfrm>
        </p:spPr>
        <p:txBody>
          <a:bodyPr/>
          <a:lstStyle/>
          <a:p>
            <a:endParaRPr lang="en-US"/>
          </a:p>
        </p:txBody>
      </p:sp>
      <p:sp>
        <p:nvSpPr>
          <p:cNvPr id="31" name="Picture Placeholder 30">
            <a:extLst>
              <a:ext uri="{FF2B5EF4-FFF2-40B4-BE49-F238E27FC236}">
                <a16:creationId xmlns:a16="http://schemas.microsoft.com/office/drawing/2014/main" id="{E6B28C88-6157-0040-A34D-1B7C34989273}"/>
              </a:ext>
            </a:extLst>
          </p:cNvPr>
          <p:cNvSpPr>
            <a:spLocks noGrp="1"/>
          </p:cNvSpPr>
          <p:nvPr>
            <p:ph type="pic" sz="quarter" idx="29"/>
          </p:nvPr>
        </p:nvSpPr>
        <p:spPr>
          <a:xfrm>
            <a:off x="6096000" y="4748514"/>
            <a:ext cx="3357563" cy="1870115"/>
          </a:xfrm>
        </p:spPr>
        <p:txBody>
          <a:bodyPr/>
          <a:lstStyle/>
          <a:p>
            <a:endParaRPr lang="en-US"/>
          </a:p>
        </p:txBody>
      </p:sp>
      <p:sp>
        <p:nvSpPr>
          <p:cNvPr id="33" name="Picture Placeholder 32">
            <a:extLst>
              <a:ext uri="{FF2B5EF4-FFF2-40B4-BE49-F238E27FC236}">
                <a16:creationId xmlns:a16="http://schemas.microsoft.com/office/drawing/2014/main" id="{57A7E1FF-43C3-2244-A39D-E5F7A51717DE}"/>
              </a:ext>
            </a:extLst>
          </p:cNvPr>
          <p:cNvSpPr>
            <a:spLocks noGrp="1"/>
          </p:cNvSpPr>
          <p:nvPr>
            <p:ph type="pic" sz="quarter" idx="30"/>
          </p:nvPr>
        </p:nvSpPr>
        <p:spPr>
          <a:xfrm>
            <a:off x="9426575" y="4754226"/>
            <a:ext cx="2765425" cy="1879007"/>
          </a:xfrm>
        </p:spPr>
        <p:txBody>
          <a:bodyPr/>
          <a:lstStyle/>
          <a:p>
            <a:endParaRPr lang="en-US"/>
          </a:p>
        </p:txBody>
      </p:sp>
      <p:sp>
        <p:nvSpPr>
          <p:cNvPr id="18" name="Title 7">
            <a:extLst>
              <a:ext uri="{FF2B5EF4-FFF2-40B4-BE49-F238E27FC236}">
                <a16:creationId xmlns:a16="http://schemas.microsoft.com/office/drawing/2014/main" id="{E9143C3A-093E-5440-AA5D-A2EFCB51A726}"/>
              </a:ext>
            </a:extLst>
          </p:cNvPr>
          <p:cNvSpPr>
            <a:spLocks noGrp="1"/>
          </p:cNvSpPr>
          <p:nvPr>
            <p:ph type="title"/>
          </p:nvPr>
        </p:nvSpPr>
        <p:spPr>
          <a:xfrm>
            <a:off x="356402" y="541004"/>
            <a:ext cx="5334730" cy="1946610"/>
          </a:xfrm>
        </p:spPr>
        <p:txBody>
          <a:bodyPr anchor="t">
            <a:noAutofit/>
          </a:bodyPr>
          <a:lstStyle>
            <a:lvl1pPr>
              <a:lnSpc>
                <a:spcPct val="100000"/>
              </a:lnSpc>
              <a:defRPr lang="en-US" sz="35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4" name="object 14">
            <a:extLst>
              <a:ext uri="{FF2B5EF4-FFF2-40B4-BE49-F238E27FC236}">
                <a16:creationId xmlns:a16="http://schemas.microsoft.com/office/drawing/2014/main" id="{E1DBF8FF-44E7-8D4C-BC04-05EE0FB09AC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9" name="TextBox 18">
            <a:extLst>
              <a:ext uri="{FF2B5EF4-FFF2-40B4-BE49-F238E27FC236}">
                <a16:creationId xmlns:a16="http://schemas.microsoft.com/office/drawing/2014/main" id="{46C49D12-E62B-7741-894A-4AD25DC6664F}"/>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0" name="TextBox 19">
            <a:extLst>
              <a:ext uri="{FF2B5EF4-FFF2-40B4-BE49-F238E27FC236}">
                <a16:creationId xmlns:a16="http://schemas.microsoft.com/office/drawing/2014/main" id="{99A44C63-515E-7246-AB24-6003C63CDFCA}"/>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69E55846-803C-4DE2-A690-CC9F7E3722C8}"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50431141"/>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Blocks with Caption 02">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82DDF741-4619-3147-914E-918E4E745100}"/>
              </a:ext>
            </a:extLst>
          </p:cNvPr>
          <p:cNvSpPr/>
          <p:nvPr userDrawn="1"/>
        </p:nvSpPr>
        <p:spPr>
          <a:xfrm>
            <a:off x="0" y="1953"/>
            <a:ext cx="6082748" cy="212739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1" name="Text Placeholder 2">
            <a:extLst>
              <a:ext uri="{FF2B5EF4-FFF2-40B4-BE49-F238E27FC236}">
                <a16:creationId xmlns:a16="http://schemas.microsoft.com/office/drawing/2014/main" id="{24CFF24E-72BA-E04C-A221-8B0FAA3DBCAD}"/>
              </a:ext>
            </a:extLst>
          </p:cNvPr>
          <p:cNvSpPr>
            <a:spLocks noGrp="1"/>
          </p:cNvSpPr>
          <p:nvPr>
            <p:ph type="body" sz="quarter" idx="38"/>
          </p:nvPr>
        </p:nvSpPr>
        <p:spPr>
          <a:xfrm>
            <a:off x="120489" y="611233"/>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8" name="Rectangle 37">
            <a:extLst>
              <a:ext uri="{FF2B5EF4-FFF2-40B4-BE49-F238E27FC236}">
                <a16:creationId xmlns:a16="http://schemas.microsoft.com/office/drawing/2014/main" id="{FA975E8A-74D8-C04B-8820-1EBA8392534D}"/>
              </a:ext>
            </a:extLst>
          </p:cNvPr>
          <p:cNvSpPr/>
          <p:nvPr userDrawn="1"/>
        </p:nvSpPr>
        <p:spPr>
          <a:xfrm>
            <a:off x="0" y="2133600"/>
            <a:ext cx="6082748" cy="229148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19" name="Rectangle 18">
            <a:extLst>
              <a:ext uri="{FF2B5EF4-FFF2-40B4-BE49-F238E27FC236}">
                <a16:creationId xmlns:a16="http://schemas.microsoft.com/office/drawing/2014/main" id="{99C2A715-1DC8-3541-A6B0-C65AA36724C3}"/>
              </a:ext>
            </a:extLst>
          </p:cNvPr>
          <p:cNvSpPr/>
          <p:nvPr userDrawn="1"/>
        </p:nvSpPr>
        <p:spPr>
          <a:xfrm>
            <a:off x="0" y="4431075"/>
            <a:ext cx="6082748" cy="217727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9" name="Picture Placeholder 9">
            <a:extLst>
              <a:ext uri="{FF2B5EF4-FFF2-40B4-BE49-F238E27FC236}">
                <a16:creationId xmlns:a16="http://schemas.microsoft.com/office/drawing/2014/main" id="{59C11872-6892-784E-86B3-6982F896E45D}"/>
              </a:ext>
            </a:extLst>
          </p:cNvPr>
          <p:cNvSpPr>
            <a:spLocks noGrp="1"/>
          </p:cNvSpPr>
          <p:nvPr>
            <p:ph type="pic" sz="quarter" idx="17"/>
          </p:nvPr>
        </p:nvSpPr>
        <p:spPr>
          <a:xfrm>
            <a:off x="8736496" y="0"/>
            <a:ext cx="3455504" cy="2084771"/>
          </a:xfrm>
        </p:spPr>
        <p:txBody>
          <a:bodyPr anchor="ctr">
            <a:normAutofit/>
          </a:bodyPr>
          <a:lstStyle>
            <a:lvl1pPr marL="0" indent="0" algn="ctr">
              <a:buNone/>
              <a:defRPr sz="1600"/>
            </a:lvl1pPr>
          </a:lstStyle>
          <a:p>
            <a:endParaRPr lang="en-US"/>
          </a:p>
        </p:txBody>
      </p:sp>
      <p:sp>
        <p:nvSpPr>
          <p:cNvPr id="30" name="Picture Placeholder 9">
            <a:extLst>
              <a:ext uri="{FF2B5EF4-FFF2-40B4-BE49-F238E27FC236}">
                <a16:creationId xmlns:a16="http://schemas.microsoft.com/office/drawing/2014/main" id="{B1111639-D06C-A04A-A177-6AF17AFA8DE8}"/>
              </a:ext>
            </a:extLst>
          </p:cNvPr>
          <p:cNvSpPr>
            <a:spLocks noGrp="1"/>
          </p:cNvSpPr>
          <p:nvPr>
            <p:ph type="pic" sz="quarter" idx="18"/>
          </p:nvPr>
        </p:nvSpPr>
        <p:spPr>
          <a:xfrm>
            <a:off x="6082747" y="0"/>
            <a:ext cx="2653749" cy="2084771"/>
          </a:xfrm>
        </p:spPr>
        <p:txBody>
          <a:bodyPr anchor="ctr">
            <a:normAutofit/>
          </a:bodyPr>
          <a:lstStyle>
            <a:lvl1pPr marL="0" indent="0" algn="ctr">
              <a:buNone/>
              <a:defRPr sz="1600"/>
            </a:lvl1pPr>
          </a:lstStyle>
          <a:p>
            <a:endParaRPr lang="en-US"/>
          </a:p>
        </p:txBody>
      </p:sp>
      <p:sp>
        <p:nvSpPr>
          <p:cNvPr id="31" name="Picture Placeholder 9">
            <a:extLst>
              <a:ext uri="{FF2B5EF4-FFF2-40B4-BE49-F238E27FC236}">
                <a16:creationId xmlns:a16="http://schemas.microsoft.com/office/drawing/2014/main" id="{4E3761BD-4C97-2E4D-81DC-7555C01A83FE}"/>
              </a:ext>
            </a:extLst>
          </p:cNvPr>
          <p:cNvSpPr>
            <a:spLocks noGrp="1"/>
          </p:cNvSpPr>
          <p:nvPr>
            <p:ph type="pic" sz="quarter" idx="19"/>
          </p:nvPr>
        </p:nvSpPr>
        <p:spPr>
          <a:xfrm>
            <a:off x="6082747" y="2090765"/>
            <a:ext cx="3631269" cy="2147424"/>
          </a:xfrm>
        </p:spPr>
        <p:txBody>
          <a:bodyPr anchor="ctr">
            <a:normAutofit/>
          </a:bodyPr>
          <a:lstStyle>
            <a:lvl1pPr marL="0" indent="0" algn="ctr">
              <a:buNone/>
              <a:defRPr sz="1600"/>
            </a:lvl1pPr>
          </a:lstStyle>
          <a:p>
            <a:endParaRPr lang="en-US"/>
          </a:p>
        </p:txBody>
      </p:sp>
      <p:sp>
        <p:nvSpPr>
          <p:cNvPr id="32" name="Picture Placeholder 9">
            <a:extLst>
              <a:ext uri="{FF2B5EF4-FFF2-40B4-BE49-F238E27FC236}">
                <a16:creationId xmlns:a16="http://schemas.microsoft.com/office/drawing/2014/main" id="{753F2BAC-8853-E046-8124-933C9A25CBEA}"/>
              </a:ext>
            </a:extLst>
          </p:cNvPr>
          <p:cNvSpPr>
            <a:spLocks noGrp="1"/>
          </p:cNvSpPr>
          <p:nvPr>
            <p:ph type="pic" sz="quarter" idx="20"/>
          </p:nvPr>
        </p:nvSpPr>
        <p:spPr>
          <a:xfrm>
            <a:off x="9714016" y="2090764"/>
            <a:ext cx="2493818" cy="2844656"/>
          </a:xfrm>
        </p:spPr>
        <p:txBody>
          <a:bodyPr anchor="ctr">
            <a:normAutofit/>
          </a:bodyPr>
          <a:lstStyle>
            <a:lvl1pPr marL="0" indent="0" algn="ctr">
              <a:buNone/>
              <a:defRPr sz="1600"/>
            </a:lvl1pPr>
          </a:lstStyle>
          <a:p>
            <a:endParaRPr lang="en-US"/>
          </a:p>
        </p:txBody>
      </p:sp>
      <p:sp>
        <p:nvSpPr>
          <p:cNvPr id="34" name="Picture Placeholder 9">
            <a:extLst>
              <a:ext uri="{FF2B5EF4-FFF2-40B4-BE49-F238E27FC236}">
                <a16:creationId xmlns:a16="http://schemas.microsoft.com/office/drawing/2014/main" id="{47A7B0CD-6082-594C-A8AF-AB6FEDBBA647}"/>
              </a:ext>
            </a:extLst>
          </p:cNvPr>
          <p:cNvSpPr>
            <a:spLocks noGrp="1"/>
          </p:cNvSpPr>
          <p:nvPr>
            <p:ph type="pic" sz="quarter" idx="21"/>
          </p:nvPr>
        </p:nvSpPr>
        <p:spPr>
          <a:xfrm>
            <a:off x="6082747" y="4238401"/>
            <a:ext cx="3631269" cy="2369945"/>
          </a:xfrm>
        </p:spPr>
        <p:txBody>
          <a:bodyPr anchor="ctr">
            <a:normAutofit/>
          </a:bodyPr>
          <a:lstStyle>
            <a:lvl1pPr marL="0" indent="0" algn="ctr">
              <a:buNone/>
              <a:defRPr sz="1600"/>
            </a:lvl1pPr>
          </a:lstStyle>
          <a:p>
            <a:endParaRPr lang="en-US"/>
          </a:p>
        </p:txBody>
      </p:sp>
      <p:sp>
        <p:nvSpPr>
          <p:cNvPr id="35" name="Picture Placeholder 9">
            <a:extLst>
              <a:ext uri="{FF2B5EF4-FFF2-40B4-BE49-F238E27FC236}">
                <a16:creationId xmlns:a16="http://schemas.microsoft.com/office/drawing/2014/main" id="{BC1F2C4C-D74F-9641-A92D-6B8EF605E9ED}"/>
              </a:ext>
            </a:extLst>
          </p:cNvPr>
          <p:cNvSpPr>
            <a:spLocks noGrp="1"/>
          </p:cNvSpPr>
          <p:nvPr>
            <p:ph type="pic" sz="quarter" idx="22"/>
          </p:nvPr>
        </p:nvSpPr>
        <p:spPr>
          <a:xfrm>
            <a:off x="9714016" y="4945961"/>
            <a:ext cx="2493818" cy="1662385"/>
          </a:xfrm>
        </p:spPr>
        <p:txBody>
          <a:bodyPr anchor="ctr">
            <a:normAutofit/>
          </a:bodyPr>
          <a:lstStyle>
            <a:lvl1pPr marL="0" indent="0" algn="ctr">
              <a:buNone/>
              <a:defRPr sz="1600"/>
            </a:lvl1pPr>
          </a:lstStyle>
          <a:p>
            <a:endParaRPr lang="en-US"/>
          </a:p>
        </p:txBody>
      </p:sp>
      <p:sp>
        <p:nvSpPr>
          <p:cNvPr id="51" name="Text Placeholder 50">
            <a:extLst>
              <a:ext uri="{FF2B5EF4-FFF2-40B4-BE49-F238E27FC236}">
                <a16:creationId xmlns:a16="http://schemas.microsoft.com/office/drawing/2014/main" id="{6B826EBB-F734-8845-873F-548D7E6A93A9}"/>
              </a:ext>
            </a:extLst>
          </p:cNvPr>
          <p:cNvSpPr>
            <a:spLocks noGrp="1"/>
          </p:cNvSpPr>
          <p:nvPr>
            <p:ph type="body" sz="quarter" idx="28" hasCustomPrompt="1"/>
          </p:nvPr>
        </p:nvSpPr>
        <p:spPr>
          <a:xfrm>
            <a:off x="112643" y="10653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1</a:t>
            </a:r>
          </a:p>
        </p:txBody>
      </p:sp>
      <p:sp>
        <p:nvSpPr>
          <p:cNvPr id="24" name="Text Placeholder 50">
            <a:extLst>
              <a:ext uri="{FF2B5EF4-FFF2-40B4-BE49-F238E27FC236}">
                <a16:creationId xmlns:a16="http://schemas.microsoft.com/office/drawing/2014/main" id="{1DCAE723-DF56-0041-A237-3300B434206A}"/>
              </a:ext>
            </a:extLst>
          </p:cNvPr>
          <p:cNvSpPr>
            <a:spLocks noGrp="1"/>
          </p:cNvSpPr>
          <p:nvPr>
            <p:ph type="body" sz="quarter" idx="32" hasCustomPrompt="1"/>
          </p:nvPr>
        </p:nvSpPr>
        <p:spPr>
          <a:xfrm>
            <a:off x="112643" y="223892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2</a:t>
            </a:r>
          </a:p>
        </p:txBody>
      </p:sp>
      <p:sp>
        <p:nvSpPr>
          <p:cNvPr id="27" name="Text Placeholder 50">
            <a:extLst>
              <a:ext uri="{FF2B5EF4-FFF2-40B4-BE49-F238E27FC236}">
                <a16:creationId xmlns:a16="http://schemas.microsoft.com/office/drawing/2014/main" id="{6BBDBCC1-6D71-5F40-91C8-28F08666DC75}"/>
              </a:ext>
            </a:extLst>
          </p:cNvPr>
          <p:cNvSpPr>
            <a:spLocks noGrp="1"/>
          </p:cNvSpPr>
          <p:nvPr>
            <p:ph type="body" sz="quarter" idx="34" hasCustomPrompt="1"/>
          </p:nvPr>
        </p:nvSpPr>
        <p:spPr>
          <a:xfrm>
            <a:off x="112643" y="457029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3</a:t>
            </a:r>
          </a:p>
        </p:txBody>
      </p:sp>
      <p:sp>
        <p:nvSpPr>
          <p:cNvPr id="20" name="object 14">
            <a:extLst>
              <a:ext uri="{FF2B5EF4-FFF2-40B4-BE49-F238E27FC236}">
                <a16:creationId xmlns:a16="http://schemas.microsoft.com/office/drawing/2014/main" id="{7565DC0F-34B9-764F-9BED-8CE52E32BDD4}"/>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E22E514F-1A1E-4345-B515-62AB97A8C5BA}"/>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6" name="TextBox 25">
            <a:extLst>
              <a:ext uri="{FF2B5EF4-FFF2-40B4-BE49-F238E27FC236}">
                <a16:creationId xmlns:a16="http://schemas.microsoft.com/office/drawing/2014/main" id="{614105E9-038A-0949-9598-6A3CCED21239}"/>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10878BBF-C2F9-40C7-9C50-1FFCEE689C86}"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5" name="Text Placeholder 2">
            <a:extLst>
              <a:ext uri="{FF2B5EF4-FFF2-40B4-BE49-F238E27FC236}">
                <a16:creationId xmlns:a16="http://schemas.microsoft.com/office/drawing/2014/main" id="{B229F7E6-BA22-1F42-8000-1D477E69F62A}"/>
              </a:ext>
            </a:extLst>
          </p:cNvPr>
          <p:cNvSpPr>
            <a:spLocks noGrp="1"/>
          </p:cNvSpPr>
          <p:nvPr>
            <p:ph type="body" sz="quarter" idx="39"/>
          </p:nvPr>
        </p:nvSpPr>
        <p:spPr>
          <a:xfrm>
            <a:off x="120489" y="2738628"/>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28" name="Text Placeholder 2">
            <a:extLst>
              <a:ext uri="{FF2B5EF4-FFF2-40B4-BE49-F238E27FC236}">
                <a16:creationId xmlns:a16="http://schemas.microsoft.com/office/drawing/2014/main" id="{92506A15-4EC5-A141-B048-FD753B9A023B}"/>
              </a:ext>
            </a:extLst>
          </p:cNvPr>
          <p:cNvSpPr>
            <a:spLocks noGrp="1"/>
          </p:cNvSpPr>
          <p:nvPr>
            <p:ph type="body" sz="quarter" idx="40"/>
          </p:nvPr>
        </p:nvSpPr>
        <p:spPr>
          <a:xfrm>
            <a:off x="112643" y="5074639"/>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63188162"/>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attern with Content 0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A728BD0-5F1F-E54C-B006-FFBE2BF34149}"/>
              </a:ext>
            </a:extLst>
          </p:cNvPr>
          <p:cNvSpPr/>
          <p:nvPr userDrawn="1"/>
        </p:nvSpPr>
        <p:spPr>
          <a:xfrm>
            <a:off x="0" y="0"/>
            <a:ext cx="7777728"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CF36880C-E561-124D-AF8D-6A9A986E24A0}"/>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3" name="Picture 2" descr="Shape&#10;&#10;Description automatically generated">
            <a:extLst>
              <a:ext uri="{FF2B5EF4-FFF2-40B4-BE49-F238E27FC236}">
                <a16:creationId xmlns:a16="http://schemas.microsoft.com/office/drawing/2014/main" id="{3FA00CF5-0739-3E48-A7D2-EF529F102C5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58841" y="0"/>
            <a:ext cx="4433159" cy="4437264"/>
          </a:xfrm>
          <a:prstGeom prst="rect">
            <a:avLst/>
          </a:prstGeom>
        </p:spPr>
      </p:pic>
      <p:pic>
        <p:nvPicPr>
          <p:cNvPr id="8" name="Picture 7" descr="Diagram, venn diagram&#10;&#10;Description automatically generated">
            <a:extLst>
              <a:ext uri="{FF2B5EF4-FFF2-40B4-BE49-F238E27FC236}">
                <a16:creationId xmlns:a16="http://schemas.microsoft.com/office/drawing/2014/main" id="{261F7FD4-BA91-614D-AD6C-C7A4601D15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58841" y="4398836"/>
            <a:ext cx="2214221" cy="2216271"/>
          </a:xfrm>
          <a:prstGeom prst="rect">
            <a:avLst/>
          </a:prstGeom>
        </p:spPr>
      </p:pic>
      <p:pic>
        <p:nvPicPr>
          <p:cNvPr id="17" name="Picture 16" descr="Shape&#10;&#10;Description automatically generated">
            <a:extLst>
              <a:ext uri="{FF2B5EF4-FFF2-40B4-BE49-F238E27FC236}">
                <a16:creationId xmlns:a16="http://schemas.microsoft.com/office/drawing/2014/main" id="{820CB2B6-6694-594D-8A7B-B25E5C82EE5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973062" y="4398836"/>
            <a:ext cx="2218938" cy="2218938"/>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EDFD3A16-ECE5-48EA-A7BD-A07A7F2C57CF}"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07003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attern with Content 0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301D1105-328D-7944-8B82-AE3EB2E788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7778012" y="-3608"/>
            <a:ext cx="2213816" cy="2215866"/>
          </a:xfrm>
          <a:prstGeom prst="rect">
            <a:avLst/>
          </a:prstGeom>
        </p:spPr>
      </p:pic>
      <p:pic>
        <p:nvPicPr>
          <p:cNvPr id="13" name="Picture 12" descr="Shape, circle&#10;&#10;Description automatically generated">
            <a:extLst>
              <a:ext uri="{FF2B5EF4-FFF2-40B4-BE49-F238E27FC236}">
                <a16:creationId xmlns:a16="http://schemas.microsoft.com/office/drawing/2014/main" id="{BC5BDB84-1C5D-264A-B22B-5718481E8B0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987280" y="-3608"/>
            <a:ext cx="2215866" cy="2215866"/>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C3B956ED-BFEF-294E-B42B-937A68D6678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7775085" y="2209738"/>
            <a:ext cx="2213816" cy="2215866"/>
          </a:xfrm>
          <a:prstGeom prst="rect">
            <a:avLst/>
          </a:prstGeom>
        </p:spPr>
      </p:pic>
      <p:pic>
        <p:nvPicPr>
          <p:cNvPr id="17" name="Picture 16" descr="A picture containing diagram&#10;&#10;Description automatically generated">
            <a:extLst>
              <a:ext uri="{FF2B5EF4-FFF2-40B4-BE49-F238E27FC236}">
                <a16:creationId xmlns:a16="http://schemas.microsoft.com/office/drawing/2014/main" id="{27CF0C2B-1E19-C745-875A-526637B89B5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988305" y="2208713"/>
            <a:ext cx="2213816" cy="2215866"/>
          </a:xfrm>
          <a:prstGeom prst="rect">
            <a:avLst/>
          </a:prstGeom>
        </p:spPr>
      </p:pic>
      <p:pic>
        <p:nvPicPr>
          <p:cNvPr id="19" name="Picture 18" descr="Chart, pie chart&#10;&#10;Description automatically generated">
            <a:extLst>
              <a:ext uri="{FF2B5EF4-FFF2-40B4-BE49-F238E27FC236}">
                <a16:creationId xmlns:a16="http://schemas.microsoft.com/office/drawing/2014/main" id="{4A160646-2700-B449-9ECE-CD02C7E9043B}"/>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773464" y="4423021"/>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22E9E4D2-0D15-8F4C-A7FF-A3F1D46182B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83800" y="4421641"/>
            <a:ext cx="2218321" cy="2220375"/>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11E8F303-556E-4638-9BED-A936E1565651}"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5679817E-4A40-C648-B0AC-4B7F8C627A2D}"/>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3397233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03">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0" y="11788"/>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0" name="Picture 9" descr="A picture containing tree, green, plant, broccoli&#10;&#10;Description automatically generated">
            <a:extLst>
              <a:ext uri="{FF2B5EF4-FFF2-40B4-BE49-F238E27FC236}">
                <a16:creationId xmlns:a16="http://schemas.microsoft.com/office/drawing/2014/main" id="{C0BBEF17-CCF4-44A9-8BE8-126ABA4890D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V="1">
            <a:off x="-34288" y="0"/>
            <a:ext cx="7526731" cy="6846212"/>
          </a:xfrm>
          <a:prstGeom prst="rect">
            <a:avLst/>
          </a:prstGeom>
        </p:spPr>
      </p:pic>
      <p:pic>
        <p:nvPicPr>
          <p:cNvPr id="11" name="Picture 10" descr="Logo&#10;&#10;Description automatically generated">
            <a:extLst>
              <a:ext uri="{FF2B5EF4-FFF2-40B4-BE49-F238E27FC236}">
                <a16:creationId xmlns:a16="http://schemas.microsoft.com/office/drawing/2014/main" id="{321D46E2-614D-CF4E-9C75-EC407239DA3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876563039"/>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attern with Content 03">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FDF17AE2-0207-EA43-92B5-DF5BE8A6685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9535" y="0"/>
            <a:ext cx="11802465" cy="6638886"/>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Rectangle 1">
            <a:extLst>
              <a:ext uri="{FF2B5EF4-FFF2-40B4-BE49-F238E27FC236}">
                <a16:creationId xmlns:a16="http://schemas.microsoft.com/office/drawing/2014/main" id="{345D5DD2-2E19-CA4B-AA8E-4199EABE98B3}"/>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1C68CB03-B4E5-4449-A4EF-B1D62C6B70BD}"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2171F254-48BE-AB44-BFD8-680E5EFACFEE}"/>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45925601"/>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attern with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D29E553-7C78-5843-B13C-8A9A1E1B2129}"/>
              </a:ext>
            </a:extLst>
          </p:cNvPr>
          <p:cNvSpPr>
            <a:spLocks noGrp="1"/>
          </p:cNvSpPr>
          <p:nvPr>
            <p:ph type="body" sz="quarter" idx="14"/>
          </p:nvPr>
        </p:nvSpPr>
        <p:spPr>
          <a:xfrm>
            <a:off x="514451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80632FAB-8623-46F6-997E-CBB9568CFD9D}"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548890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attern with Content 05">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BA38545-20DD-F14B-86E8-80395E05428E}"/>
              </a:ext>
            </a:extLst>
          </p:cNvPr>
          <p:cNvSpPr/>
          <p:nvPr userDrawn="1"/>
        </p:nvSpPr>
        <p:spPr>
          <a:xfrm>
            <a:off x="0" y="0"/>
            <a:ext cx="8853325"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82DCA8F0-00C5-064E-A95F-05C65ACCAC22}"/>
              </a:ext>
            </a:extLst>
          </p:cNvPr>
          <p:cNvSpPr>
            <a:spLocks noGrp="1"/>
          </p:cNvSpPr>
          <p:nvPr>
            <p:ph type="body" sz="quarter" idx="15"/>
          </p:nvPr>
        </p:nvSpPr>
        <p:spPr>
          <a:xfrm>
            <a:off x="747673" y="702899"/>
            <a:ext cx="6263495" cy="530761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pic>
        <p:nvPicPr>
          <p:cNvPr id="5" name="Picture 4" descr="Shape&#10;&#10;Description automatically generated">
            <a:extLst>
              <a:ext uri="{FF2B5EF4-FFF2-40B4-BE49-F238E27FC236}">
                <a16:creationId xmlns:a16="http://schemas.microsoft.com/office/drawing/2014/main" id="{4745E3E6-5D8C-814C-8069-55EE5966FF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8853327" y="3266585"/>
            <a:ext cx="3338671" cy="3341762"/>
          </a:xfrm>
          <a:prstGeom prst="rect">
            <a:avLst/>
          </a:prstGeom>
        </p:spPr>
      </p:pic>
      <p:pic>
        <p:nvPicPr>
          <p:cNvPr id="3" name="Picture 2" descr="Diagram, venn diagram&#10;&#10;Description automatically generated">
            <a:extLst>
              <a:ext uri="{FF2B5EF4-FFF2-40B4-BE49-F238E27FC236}">
                <a16:creationId xmlns:a16="http://schemas.microsoft.com/office/drawing/2014/main" id="{6D152EBC-A5CC-F24B-AF17-E1B08EB33A1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53330" y="0"/>
            <a:ext cx="3338670" cy="333867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C5105CF0-64AC-4EF5-9D2D-762CF774EAFE}"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513460"/>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ttern with Content 06">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090E092-A631-CD41-B00D-687A60B8A42A}"/>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
            <a:extLst>
              <a:ext uri="{FF2B5EF4-FFF2-40B4-BE49-F238E27FC236}">
                <a16:creationId xmlns:a16="http://schemas.microsoft.com/office/drawing/2014/main" id="{B883CA5D-9231-194D-B04E-1F2443C5298E}"/>
              </a:ext>
            </a:extLst>
          </p:cNvPr>
          <p:cNvSpPr>
            <a:spLocks noGrp="1"/>
          </p:cNvSpPr>
          <p:nvPr>
            <p:ph type="body" sz="quarter" idx="26"/>
          </p:nvPr>
        </p:nvSpPr>
        <p:spPr>
          <a:xfrm>
            <a:off x="745772"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E9B61688-ACFC-FB45-B95D-48862BE6DFC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7778012" y="-3608"/>
            <a:ext cx="2213816" cy="2215866"/>
          </a:xfrm>
          <a:prstGeom prst="rect">
            <a:avLst/>
          </a:prstGeom>
        </p:spPr>
      </p:pic>
      <p:pic>
        <p:nvPicPr>
          <p:cNvPr id="16" name="Picture 15" descr="Shape, circle&#10;&#10;Description automatically generated">
            <a:extLst>
              <a:ext uri="{FF2B5EF4-FFF2-40B4-BE49-F238E27FC236}">
                <a16:creationId xmlns:a16="http://schemas.microsoft.com/office/drawing/2014/main" id="{2119715B-ED0C-3845-BC7F-E2A8719BD8C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987280" y="-3608"/>
            <a:ext cx="2215866" cy="2215866"/>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FE179056-DC08-1349-83A9-914E0634F629}"/>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7775085" y="2209738"/>
            <a:ext cx="2213816" cy="2215866"/>
          </a:xfrm>
          <a:prstGeom prst="rect">
            <a:avLst/>
          </a:prstGeom>
        </p:spPr>
      </p:pic>
      <p:pic>
        <p:nvPicPr>
          <p:cNvPr id="19" name="Picture 18" descr="A picture containing diagram&#10;&#10;Description automatically generated">
            <a:extLst>
              <a:ext uri="{FF2B5EF4-FFF2-40B4-BE49-F238E27FC236}">
                <a16:creationId xmlns:a16="http://schemas.microsoft.com/office/drawing/2014/main" id="{444100EF-3B25-BA45-9308-F115F5DDE44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988305" y="2208713"/>
            <a:ext cx="2213816" cy="2215866"/>
          </a:xfrm>
          <a:prstGeom prst="rect">
            <a:avLst/>
          </a:prstGeom>
        </p:spPr>
      </p:pic>
      <p:pic>
        <p:nvPicPr>
          <p:cNvPr id="20" name="Picture 19" descr="Chart, pie chart&#10;&#10;Description automatically generated">
            <a:extLst>
              <a:ext uri="{FF2B5EF4-FFF2-40B4-BE49-F238E27FC236}">
                <a16:creationId xmlns:a16="http://schemas.microsoft.com/office/drawing/2014/main" id="{6A2D2AD8-E10B-5645-9788-A98E0816509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773464" y="4423021"/>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FC5C39EE-9955-1A49-ACF9-6DF45A5C9C61}"/>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83800" y="4421641"/>
            <a:ext cx="2218321" cy="2220375"/>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F4ED66D2-49B2-9340-AEEB-222BA246730C}"/>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7C2EFF71-F2BD-C043-A7E4-5F0F6852ACFC}"/>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7" name="TextBox 16">
            <a:extLst>
              <a:ext uri="{FF2B5EF4-FFF2-40B4-BE49-F238E27FC236}">
                <a16:creationId xmlns:a16="http://schemas.microsoft.com/office/drawing/2014/main" id="{C28901BF-3ACD-D647-A3B1-BB843462F352}"/>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E48742CE-D6C1-4FE6-A8E4-C667FC7CFD34}"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68625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ttern with Content 0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2D82A6D1-74C9-4B48-915D-9E2E70098303}"/>
              </a:ext>
            </a:extLst>
          </p:cNvPr>
          <p:cNvSpPr>
            <a:spLocks noGrp="1"/>
          </p:cNvSpPr>
          <p:nvPr>
            <p:ph type="body" sz="quarter" idx="26"/>
          </p:nvPr>
        </p:nvSpPr>
        <p:spPr>
          <a:xfrm>
            <a:off x="5168973"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72101F9F-3B78-4234-8C11-C37EAC6948FD}"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633897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ttern with Content 08">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A9EF8CBE-BC2D-C945-BB43-6C255004EC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1865" y="1464"/>
            <a:ext cx="11800135" cy="6637576"/>
          </a:xfrm>
          <a:prstGeom prst="rect">
            <a:avLst/>
          </a:prstGeom>
        </p:spPr>
      </p:pic>
      <p:sp>
        <p:nvSpPr>
          <p:cNvPr id="11" name="Rectangle 10">
            <a:extLst>
              <a:ext uri="{FF2B5EF4-FFF2-40B4-BE49-F238E27FC236}">
                <a16:creationId xmlns:a16="http://schemas.microsoft.com/office/drawing/2014/main" id="{DD5618C4-3B88-634B-AF8F-22B2F393ED06}"/>
              </a:ext>
            </a:extLst>
          </p:cNvPr>
          <p:cNvSpPr/>
          <p:nvPr userDrawn="1"/>
        </p:nvSpPr>
        <p:spPr>
          <a:xfrm>
            <a:off x="0" y="4413956"/>
            <a:ext cx="7760710" cy="22765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A6E2D23-D519-A84C-97F3-710E9A7E7D4D}"/>
              </a:ext>
            </a:extLst>
          </p:cNvPr>
          <p:cNvSpPr/>
          <p:nvPr userDrawn="1"/>
        </p:nvSpPr>
        <p:spPr>
          <a:xfrm>
            <a:off x="0" y="0"/>
            <a:ext cx="7760710" cy="44139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2E8AAB38-ED78-2344-8398-7A3FDBCAED5D}"/>
              </a:ext>
            </a:extLst>
          </p:cNvPr>
          <p:cNvSpPr>
            <a:spLocks noGrp="1"/>
          </p:cNvSpPr>
          <p:nvPr>
            <p:ph type="body" sz="quarter" idx="14"/>
          </p:nvPr>
        </p:nvSpPr>
        <p:spPr>
          <a:xfrm>
            <a:off x="735073" y="703110"/>
            <a:ext cx="5360927" cy="5307398"/>
          </a:xfrm>
        </p:spPr>
        <p:txBody>
          <a:bodyPr>
            <a:noAutofit/>
          </a:bodyPr>
          <a:lstStyle>
            <a:lvl1pPr marL="458788" indent="-458788">
              <a:lnSpc>
                <a:spcPct val="100000"/>
              </a:lnSpc>
              <a:spcBef>
                <a:spcPct val="0"/>
              </a:spcBef>
              <a:buFont typeface="Arial" panose="020B0604020202020204" pitchFamily="34" charset="0"/>
              <a:buChar char="•"/>
              <a:defRPr sz="53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0" name="Picture 9">
            <a:extLst>
              <a:ext uri="{FF2B5EF4-FFF2-40B4-BE49-F238E27FC236}">
                <a16:creationId xmlns:a16="http://schemas.microsoft.com/office/drawing/2014/main" id="{E761E3D1-7569-944F-87A2-47F71065607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57382" y="-482309"/>
            <a:ext cx="7555639" cy="7172856"/>
          </a:xfrm>
          <a:prstGeom prst="rect">
            <a:avLst/>
          </a:prstGeom>
        </p:spPr>
      </p:pic>
      <p:sp>
        <p:nvSpPr>
          <p:cNvPr id="13" name="object 14">
            <a:extLst>
              <a:ext uri="{FF2B5EF4-FFF2-40B4-BE49-F238E27FC236}">
                <a16:creationId xmlns:a16="http://schemas.microsoft.com/office/drawing/2014/main" id="{982BA4F4-E28E-DC41-B3BF-D4837A204A8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7" name="TextBox 16">
            <a:extLst>
              <a:ext uri="{FF2B5EF4-FFF2-40B4-BE49-F238E27FC236}">
                <a16:creationId xmlns:a16="http://schemas.microsoft.com/office/drawing/2014/main" id="{AD080666-7B87-2E41-972A-A14292169ACF}"/>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8" name="TextBox 17">
            <a:extLst>
              <a:ext uri="{FF2B5EF4-FFF2-40B4-BE49-F238E27FC236}">
                <a16:creationId xmlns:a16="http://schemas.microsoft.com/office/drawing/2014/main" id="{1A774E0C-4426-7A4B-A2DB-3FB697C52B26}"/>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8B33EDC4-B508-42D9-9149-7DF023851F17}"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0661293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ttern with Content 09">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8EACC420-450E-F44C-A104-8CEE39B2A9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2" y="0"/>
            <a:ext cx="5575301"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4DCAFA9B-BE51-BF48-9B72-8B439DE7F4D6}"/>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DC0B36B7-A88E-4A83-B66F-080C94FA8E71}"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013766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attern with Content 10">
    <p:spTree>
      <p:nvGrpSpPr>
        <p:cNvPr id="1" name=""/>
        <p:cNvGrpSpPr/>
        <p:nvPr/>
      </p:nvGrpSpPr>
      <p:grpSpPr>
        <a:xfrm>
          <a:off x="0" y="0"/>
          <a:ext cx="0" cy="0"/>
          <a:chOff x="0" y="0"/>
          <a:chExt cx="0" cy="0"/>
        </a:xfrm>
      </p:grpSpPr>
      <p:pic>
        <p:nvPicPr>
          <p:cNvPr id="16" name="Picture 15" descr="A picture containing icon&#10;&#10;Description automatically generated">
            <a:extLst>
              <a:ext uri="{FF2B5EF4-FFF2-40B4-BE49-F238E27FC236}">
                <a16:creationId xmlns:a16="http://schemas.microsoft.com/office/drawing/2014/main" id="{938FEE1C-A7F3-8A41-8BB0-D3D8104B28C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17" name="Rectangle 16">
            <a:extLst>
              <a:ext uri="{FF2B5EF4-FFF2-40B4-BE49-F238E27FC236}">
                <a16:creationId xmlns:a16="http://schemas.microsoft.com/office/drawing/2014/main" id="{F4BEA6DA-7D42-BE41-A198-62F1A75FD293}"/>
              </a:ext>
            </a:extLst>
          </p:cNvPr>
          <p:cNvSpPr/>
          <p:nvPr userDrawn="1"/>
        </p:nvSpPr>
        <p:spPr>
          <a:xfrm>
            <a:off x="-2" y="0"/>
            <a:ext cx="5575301" cy="673713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94FABC28-F051-4D18-9E25-98EE61CFA685}"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B0615AEA-5F51-9347-BFE9-9671EE6E39F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950106384"/>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ttern with Content 11">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C77FAAFA-762C-E343-8D43-BBC66B4C7A4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0" y="0"/>
            <a:ext cx="5588000"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5B34A4D0-7BCA-4B0E-B941-BE99C9EC7424}"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99AEAD21-F7D3-A047-8E4A-543C15D4A13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39315340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ttern with Content 12">
    <p:spTree>
      <p:nvGrpSpPr>
        <p:cNvPr id="1" name=""/>
        <p:cNvGrpSpPr/>
        <p:nvPr/>
      </p:nvGrpSpPr>
      <p:grpSpPr>
        <a:xfrm>
          <a:off x="0" y="0"/>
          <a:ext cx="0" cy="0"/>
          <a:chOff x="0" y="0"/>
          <a:chExt cx="0" cy="0"/>
        </a:xfrm>
      </p:grpSpPr>
      <p:pic>
        <p:nvPicPr>
          <p:cNvPr id="14" name="Picture 13" descr="A picture containing background pattern&#10;&#10;Description automatically generated">
            <a:extLst>
              <a:ext uri="{FF2B5EF4-FFF2-40B4-BE49-F238E27FC236}">
                <a16:creationId xmlns:a16="http://schemas.microsoft.com/office/drawing/2014/main" id="{BABB134B-255A-664F-971C-0582B14E4A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17" name="Text Placeholder 2">
            <a:extLst>
              <a:ext uri="{FF2B5EF4-FFF2-40B4-BE49-F238E27FC236}">
                <a16:creationId xmlns:a16="http://schemas.microsoft.com/office/drawing/2014/main" id="{FE7155C3-B1CD-F943-973C-BC2EB820CDF4}"/>
              </a:ext>
            </a:extLst>
          </p:cNvPr>
          <p:cNvSpPr>
            <a:spLocks noGrp="1"/>
          </p:cNvSpPr>
          <p:nvPr>
            <p:ph type="body" sz="quarter" idx="15"/>
          </p:nvPr>
        </p:nvSpPr>
        <p:spPr>
          <a:xfrm>
            <a:off x="5974813" y="583060"/>
            <a:ext cx="5817006" cy="4027642"/>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13" name="Rectangle 12">
            <a:extLst>
              <a:ext uri="{FF2B5EF4-FFF2-40B4-BE49-F238E27FC236}">
                <a16:creationId xmlns:a16="http://schemas.microsoft.com/office/drawing/2014/main" id="{09C89E68-AD30-B749-961D-FCA005F60900}"/>
              </a:ext>
            </a:extLst>
          </p:cNvPr>
          <p:cNvSpPr/>
          <p:nvPr userDrawn="1"/>
        </p:nvSpPr>
        <p:spPr>
          <a:xfrm>
            <a:off x="0" y="0"/>
            <a:ext cx="5565742"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2" name="Picture 11">
            <a:extLst>
              <a:ext uri="{FF2B5EF4-FFF2-40B4-BE49-F238E27FC236}">
                <a16:creationId xmlns:a16="http://schemas.microsoft.com/office/drawing/2014/main" id="{5D88E59D-4F4A-2F4B-8511-68E354B447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a:off x="0" y="-216402"/>
            <a:ext cx="7714348" cy="7055497"/>
          </a:xfrm>
          <a:prstGeom prst="rect">
            <a:avLst/>
          </a:prstGeom>
        </p:spPr>
      </p:pic>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928B536E-7D5F-467F-B86F-DA4F1A71E6F6}"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956722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04">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pic>
        <p:nvPicPr>
          <p:cNvPr id="5" name="Picture 4" descr="Shape&#10;&#10;Description automatically generated">
            <a:extLst>
              <a:ext uri="{FF2B5EF4-FFF2-40B4-BE49-F238E27FC236}">
                <a16:creationId xmlns:a16="http://schemas.microsoft.com/office/drawing/2014/main" id="{4E7D94B0-F89E-124C-9342-F2D79E56E8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H="1">
            <a:off x="-34287" y="0"/>
            <a:ext cx="3425828" cy="3429000"/>
          </a:xfrm>
          <a:prstGeom prst="rect">
            <a:avLst/>
          </a:prstGeom>
        </p:spPr>
      </p:pic>
      <p:pic>
        <p:nvPicPr>
          <p:cNvPr id="9" name="Picture 8" descr="Diagram, venn diagram&#10;&#10;Description automatically generated">
            <a:extLst>
              <a:ext uri="{FF2B5EF4-FFF2-40B4-BE49-F238E27FC236}">
                <a16:creationId xmlns:a16="http://schemas.microsoft.com/office/drawing/2014/main" id="{1ED6D30F-6EB1-E940-972C-5C415573E1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1541" y="0"/>
            <a:ext cx="3425828" cy="3429000"/>
          </a:xfrm>
          <a:prstGeom prst="rect">
            <a:avLst/>
          </a:prstGeom>
        </p:spPr>
      </p:pic>
      <p:pic>
        <p:nvPicPr>
          <p:cNvPr id="11" name="Picture 10" descr="Chart, pie chart&#10;&#10;Description automatically generated">
            <a:extLst>
              <a:ext uri="{FF2B5EF4-FFF2-40B4-BE49-F238E27FC236}">
                <a16:creationId xmlns:a16="http://schemas.microsoft.com/office/drawing/2014/main" id="{3C584B47-FF61-1E42-880C-6325350EB38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4288" y="3429000"/>
            <a:ext cx="3425827" cy="3428999"/>
          </a:xfrm>
          <a:prstGeom prst="rect">
            <a:avLst/>
          </a:prstGeom>
        </p:spPr>
      </p:pic>
      <p:pic>
        <p:nvPicPr>
          <p:cNvPr id="13" name="Picture 12" descr="Shape, circle&#10;&#10;Description automatically generated">
            <a:extLst>
              <a:ext uri="{FF2B5EF4-FFF2-40B4-BE49-F238E27FC236}">
                <a16:creationId xmlns:a16="http://schemas.microsoft.com/office/drawing/2014/main" id="{D472BBD1-1FDB-234E-AAC1-6FF28BCB9B6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391540" y="3428997"/>
            <a:ext cx="3425831" cy="3429003"/>
          </a:xfrm>
          <a:prstGeom prst="rect">
            <a:avLst/>
          </a:prstGeom>
        </p:spPr>
      </p:pic>
      <p:sp>
        <p:nvSpPr>
          <p:cNvPr id="24" name="object 10">
            <a:extLst>
              <a:ext uri="{FF2B5EF4-FFF2-40B4-BE49-F238E27FC236}">
                <a16:creationId xmlns:a16="http://schemas.microsoft.com/office/drawing/2014/main" id="{0994524A-769B-B742-80BC-F1C502F1E422}"/>
              </a:ext>
            </a:extLst>
          </p:cNvPr>
          <p:cNvSpPr/>
          <p:nvPr/>
        </p:nvSpPr>
        <p:spPr>
          <a:xfrm>
            <a:off x="7648609"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534372"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534309"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534372"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spTree>
    <p:extLst>
      <p:ext uri="{BB962C8B-B14F-4D97-AF65-F5344CB8AC3E}">
        <p14:creationId xmlns:p14="http://schemas.microsoft.com/office/powerpoint/2010/main" val="3931293665"/>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attern with Content 1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icon&#10;&#10;Description automatically generated">
            <a:extLst>
              <a:ext uri="{FF2B5EF4-FFF2-40B4-BE49-F238E27FC236}">
                <a16:creationId xmlns:a16="http://schemas.microsoft.com/office/drawing/2014/main" id="{E6345E48-0069-2340-A0DB-46B963B564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85017515-74FE-4462-BA34-4D56AFF10BAF}"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13AA3599-9218-9846-B959-ABF2CAACF0CB}"/>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61177188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attern with Content 14">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logo&#10;&#10;Description automatically generated">
            <a:extLst>
              <a:ext uri="{FF2B5EF4-FFF2-40B4-BE49-F238E27FC236}">
                <a16:creationId xmlns:a16="http://schemas.microsoft.com/office/drawing/2014/main" id="{4A9275F3-BBA1-9644-9E35-4C8AD8A7F9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944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37DF1188-9ADA-4BC7-9649-3E78C4E1ECAC}"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7698789B-C74C-DB4C-A7B5-D4463DEF961E}"/>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07976113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ttern with Content 15">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4C688138-929B-0943-BB4C-334EA3EB0C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2" y="0"/>
            <a:ext cx="11743418" cy="6605673"/>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0" y="0"/>
            <a:ext cx="779272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4" name="Text Placeholder 3">
            <a:extLst>
              <a:ext uri="{FF2B5EF4-FFF2-40B4-BE49-F238E27FC236}">
                <a16:creationId xmlns:a16="http://schemas.microsoft.com/office/drawing/2014/main" id="{1B749566-D047-2B49-8DE5-DE967A0DAFB9}"/>
              </a:ext>
            </a:extLst>
          </p:cNvPr>
          <p:cNvSpPr>
            <a:spLocks noGrp="1"/>
          </p:cNvSpPr>
          <p:nvPr>
            <p:ph type="body" sz="quarter" idx="10" hasCustomPrompt="1"/>
          </p:nvPr>
        </p:nvSpPr>
        <p:spPr>
          <a:xfrm>
            <a:off x="747674" y="703110"/>
            <a:ext cx="6271672" cy="5307398"/>
          </a:xfrm>
        </p:spPr>
        <p:txBody>
          <a:bodyPr anchor="ctr">
            <a:noAutofit/>
          </a:bodyPr>
          <a:lstStyle>
            <a:lvl1pPr marL="0" indent="0">
              <a:spcBef>
                <a:spcPct val="0"/>
              </a:spcBef>
              <a:buFontTx/>
              <a:buNone/>
              <a:defRPr sz="4000" b="1" i="0">
                <a:solidFill>
                  <a:schemeClr val="bg1"/>
                </a:solidFill>
                <a:latin typeface="Calibri" panose="020F0502020204030204" pitchFamily="34" charset="0"/>
                <a:cs typeface="Calibri" panose="020F0502020204030204" pitchFamily="34" charset="0"/>
              </a:defRPr>
            </a:lvl1pPr>
            <a:lvl2pPr>
              <a:defRPr b="1" i="0">
                <a:solidFill>
                  <a:schemeClr val="bg1"/>
                </a:solidFill>
                <a:latin typeface="Calibri" panose="020F0502020204030204" pitchFamily="34" charset="0"/>
                <a:cs typeface="Calibri" panose="020F0502020204030204" pitchFamily="34" charset="0"/>
              </a:defRPr>
            </a:lvl2pPr>
            <a:lvl3pPr>
              <a:defRPr b="1" i="0">
                <a:solidFill>
                  <a:schemeClr val="bg1"/>
                </a:solidFill>
                <a:latin typeface="Calibri" panose="020F0502020204030204" pitchFamily="34" charset="0"/>
                <a:cs typeface="Calibri" panose="020F0502020204030204" pitchFamily="34" charset="0"/>
              </a:defRPr>
            </a:lvl3pPr>
            <a:lvl4pPr>
              <a:defRPr b="1" i="0">
                <a:solidFill>
                  <a:schemeClr val="bg1"/>
                </a:solidFill>
                <a:latin typeface="Calibri" panose="020F0502020204030204" pitchFamily="34" charset="0"/>
                <a:cs typeface="Calibri" panose="020F0502020204030204" pitchFamily="34" charset="0"/>
              </a:defRPr>
            </a:lvl4pPr>
            <a:lvl5pPr>
              <a:defRPr b="1" i="0">
                <a:solidFill>
                  <a:schemeClr val="bg1"/>
                </a:solidFill>
                <a:latin typeface="Calibri" panose="020F0502020204030204" pitchFamily="34" charset="0"/>
                <a:cs typeface="Calibri" panose="020F0502020204030204" pitchFamily="34" charset="0"/>
              </a:defRPr>
            </a:lvl5pPr>
          </a:lstStyle>
          <a:p>
            <a:pPr lvl="0"/>
            <a:r>
              <a:rPr lang="en-US"/>
              <a:t>Click here to edit your text.</a:t>
            </a:r>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3913E109-8662-47A5-8AF9-4BA1E1969C9B}"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5888566"/>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attern with Content 16">
    <p:spTree>
      <p:nvGrpSpPr>
        <p:cNvPr id="1" name=""/>
        <p:cNvGrpSpPr/>
        <p:nvPr/>
      </p:nvGrpSpPr>
      <p:grpSpPr>
        <a:xfrm>
          <a:off x="0" y="0"/>
          <a:ext cx="0" cy="0"/>
          <a:chOff x="0" y="0"/>
          <a:chExt cx="0" cy="0"/>
        </a:xfrm>
      </p:grpSpPr>
      <p:pic>
        <p:nvPicPr>
          <p:cNvPr id="4" name="Picture 3" descr="Shape, background pattern&#10;&#10;Description automatically generated">
            <a:extLst>
              <a:ext uri="{FF2B5EF4-FFF2-40B4-BE49-F238E27FC236}">
                <a16:creationId xmlns:a16="http://schemas.microsoft.com/office/drawing/2014/main" id="{34AA1E1D-03FF-AF43-BE4A-5FC80EF1F2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1"/>
            <a:ext cx="12192001" cy="6608348"/>
          </a:xfrm>
          <a:prstGeom prst="rect">
            <a:avLst/>
          </a:prstGeom>
        </p:spPr>
      </p:pic>
      <p:sp>
        <p:nvSpPr>
          <p:cNvPr id="17" name="Rectangle 16">
            <a:extLst>
              <a:ext uri="{FF2B5EF4-FFF2-40B4-BE49-F238E27FC236}">
                <a16:creationId xmlns:a16="http://schemas.microsoft.com/office/drawing/2014/main" id="{25F84725-21C6-BE45-BE42-A7EA6A32E46E}"/>
              </a:ext>
            </a:extLst>
          </p:cNvPr>
          <p:cNvSpPr/>
          <p:nvPr userDrawn="1"/>
        </p:nvSpPr>
        <p:spPr>
          <a:xfrm>
            <a:off x="914399" y="0"/>
            <a:ext cx="6939065" cy="6869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749E92C5-11B9-0447-A39A-12B9C7B844C2}"/>
              </a:ext>
            </a:extLst>
          </p:cNvPr>
          <p:cNvSpPr>
            <a:spLocks noGrp="1"/>
          </p:cNvSpPr>
          <p:nvPr>
            <p:ph type="body" sz="quarter" idx="14"/>
          </p:nvPr>
        </p:nvSpPr>
        <p:spPr>
          <a:xfrm>
            <a:off x="1059543" y="599440"/>
            <a:ext cx="5250945" cy="5411068"/>
          </a:xfrm>
        </p:spPr>
        <p:txBody>
          <a:bodyPr>
            <a:noAutofit/>
          </a:bodyPr>
          <a:lstStyle>
            <a:lvl1pPr marL="0" indent="0">
              <a:lnSpc>
                <a:spcPct val="100000"/>
              </a:lnSpc>
              <a:spcBef>
                <a:spcPct val="0"/>
              </a:spcBef>
              <a:buFont typeface="Arial" panose="020B0604020202020204" pitchFamily="34" charset="0"/>
              <a:buNone/>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9" name="Picture 18" descr="A picture containing windmill, outdoor object&#10;&#10;Description automatically generated">
            <a:extLst>
              <a:ext uri="{FF2B5EF4-FFF2-40B4-BE49-F238E27FC236}">
                <a16:creationId xmlns:a16="http://schemas.microsoft.com/office/drawing/2014/main" id="{E18F52E1-FB6D-524D-ACCC-62D345CB1DA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46304" y="-104379"/>
            <a:ext cx="5827009" cy="6743420"/>
          </a:xfrm>
          <a:prstGeom prst="rect">
            <a:avLst/>
          </a:prstGeom>
        </p:spPr>
      </p:pic>
      <p:pic>
        <p:nvPicPr>
          <p:cNvPr id="20" name="Picture 19" descr="A picture containing windmill, outdoor object&#10;&#10;Description automatically generated">
            <a:extLst>
              <a:ext uri="{FF2B5EF4-FFF2-40B4-BE49-F238E27FC236}">
                <a16:creationId xmlns:a16="http://schemas.microsoft.com/office/drawing/2014/main" id="{B05B56EE-41C9-D94E-A6DB-7A479077EED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76596" y="2973400"/>
            <a:ext cx="3362753" cy="3665640"/>
          </a:xfrm>
          <a:prstGeom prst="rect">
            <a:avLst/>
          </a:prstGeom>
        </p:spPr>
      </p:pic>
      <p:sp>
        <p:nvSpPr>
          <p:cNvPr id="11" name="object 14">
            <a:extLst>
              <a:ext uri="{FF2B5EF4-FFF2-40B4-BE49-F238E27FC236}">
                <a16:creationId xmlns:a16="http://schemas.microsoft.com/office/drawing/2014/main" id="{44FE5C87-C327-A549-9EB2-2C22CF7E23A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26596148-2BF5-C243-9337-6ABF6F8D5A26}"/>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65E5"/>
                </a:solidFill>
                <a:effectLst/>
                <a:latin typeface="Calibri"/>
                <a:ea typeface="Calibri"/>
                <a:cs typeface="Calibri"/>
              </a:rPr>
              <a:t>GİZLİ VE ÖZEL</a:t>
            </a:r>
          </a:p>
        </p:txBody>
      </p:sp>
      <p:sp>
        <p:nvSpPr>
          <p:cNvPr id="18" name="TextBox 17">
            <a:extLst>
              <a:ext uri="{FF2B5EF4-FFF2-40B4-BE49-F238E27FC236}">
                <a16:creationId xmlns:a16="http://schemas.microsoft.com/office/drawing/2014/main" id="{D845A496-6F89-9C45-87E7-1898BA4848FA}"/>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65E5"/>
                </a:solidFill>
                <a:effectLst/>
                <a:latin typeface="Calibri"/>
                <a:ea typeface="Calibri"/>
                <a:cs typeface="Calibri"/>
              </a:rPr>
              <a:t>PAGE </a:t>
            </a:r>
            <a:fld id="{F42F967D-BA74-4A2E-A284-1667B386E834}" type="slidenum">
              <a:rPr lang="tr-TR" sz="700" b="0" i="0" strike="noStrike" cap="none" spc="300" baseline="0">
                <a:solidFill>
                  <a:srgbClr val="0065E5"/>
                </a:solidFill>
                <a:effectLst/>
                <a:latin typeface="Calibri"/>
                <a:ea typeface="Calibri"/>
                <a:cs typeface="Calibri"/>
              </a:rPr>
              <a:t>‹#›</a:t>
            </a:fld>
            <a:endParaRPr lang="en-US" sz="700" spc="300">
              <a:solidFill>
                <a:schemeClr val="accent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8583364"/>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attern with Content 17">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A540508-B502-5146-8F90-5B91F1663EFA}"/>
              </a:ext>
            </a:extLst>
          </p:cNvPr>
          <p:cNvSpPr/>
          <p:nvPr userDrawn="1"/>
        </p:nvSpPr>
        <p:spPr>
          <a:xfrm>
            <a:off x="0" y="-214"/>
            <a:ext cx="5588000" cy="6766773"/>
          </a:xfrm>
          <a:prstGeom prst="rect">
            <a:avLst/>
          </a:prstGeom>
          <a:solidFill>
            <a:srgbClr val="00A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picture containing text, person, outdoor, male&#10;&#10;Description automatically generated">
            <a:extLst>
              <a:ext uri="{FF2B5EF4-FFF2-40B4-BE49-F238E27FC236}">
                <a16:creationId xmlns:a16="http://schemas.microsoft.com/office/drawing/2014/main" id="{A15711D4-951A-3541-806C-87D91F217D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7" name="Text Placeholder 2">
            <a:extLst>
              <a:ext uri="{FF2B5EF4-FFF2-40B4-BE49-F238E27FC236}">
                <a16:creationId xmlns:a16="http://schemas.microsoft.com/office/drawing/2014/main" id="{532447C0-EA72-7D49-9A06-19169E1C214D}"/>
              </a:ext>
            </a:extLst>
          </p:cNvPr>
          <p:cNvSpPr>
            <a:spLocks noGrp="1"/>
          </p:cNvSpPr>
          <p:nvPr>
            <p:ph type="body" sz="quarter" idx="14"/>
          </p:nvPr>
        </p:nvSpPr>
        <p:spPr>
          <a:xfrm>
            <a:off x="568352" y="1935600"/>
            <a:ext cx="4228936" cy="4078977"/>
          </a:xfrm>
        </p:spPr>
        <p:txBody>
          <a:bodyPr>
            <a:noAutofit/>
          </a:bodyPr>
          <a:lstStyle>
            <a:lvl1pPr marL="288925" indent="-288925">
              <a:lnSpc>
                <a:spcPct val="100000"/>
              </a:lnSpc>
              <a:spcBef>
                <a:spcPct val="0"/>
              </a:spcBef>
              <a:buFont typeface="Arial" panose="020B0604020202020204" pitchFamily="34" charset="0"/>
              <a:buChar char="•"/>
              <a:defRPr sz="2400" b="1" i="0">
                <a:solidFill>
                  <a:schemeClr val="bg1"/>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400" b="0" i="0">
                <a:solidFill>
                  <a:schemeClr val="bg1"/>
                </a:solidFill>
                <a:latin typeface="Calibri" panose="020F0502020204030204" pitchFamily="34" charset="0"/>
                <a:cs typeface="Calibri" panose="020F0502020204030204" pitchFamily="34" charset="0"/>
              </a:defRPr>
            </a:lvl2pPr>
            <a:lvl3pPr marL="979488" indent="-339725">
              <a:lnSpc>
                <a:spcPct val="100000"/>
              </a:lnSpc>
              <a:buSzPct val="70000"/>
              <a:buFont typeface="Courier New" panose="02070309020205020404" pitchFamily="49" charset="0"/>
              <a:buChar char="o"/>
              <a:tabLst>
                <a:tab pos="1023938" algn="l"/>
              </a:tabLst>
              <a:defRPr sz="2400">
                <a:solidFill>
                  <a:schemeClr val="bg1"/>
                </a:solidFill>
              </a:defRPr>
            </a:lvl3pPr>
            <a:lvl4pPr marL="1379538" indent="-357188">
              <a:lnSpc>
                <a:spcPct val="100000"/>
              </a:lnSpc>
              <a:buClr>
                <a:schemeClr val="bg1"/>
              </a:buClr>
              <a:buSzPct val="80000"/>
              <a:buFont typeface="Wingdings" pitchFamily="2" charset="2"/>
              <a:buChar char="§"/>
              <a:defRPr sz="2400">
                <a:solidFill>
                  <a:schemeClr val="bg1"/>
                </a:solidFill>
              </a:defRPr>
            </a:lvl4pPr>
            <a:lvl5pPr marL="1779588" indent="-360363">
              <a:lnSpc>
                <a:spcPct val="100000"/>
              </a:lnSpc>
              <a:buClr>
                <a:schemeClr val="bg1"/>
              </a:buClr>
              <a:buSzPct val="80000"/>
              <a:buFont typeface="Wingdings" pitchFamily="2" charset="2"/>
              <a:buChar char="§"/>
              <a:defRPr sz="24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49D3E8D3-81DB-DB47-898F-ABAAFD6642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EE07F7FD-79A8-5149-A7B0-1D5988C491FA}"/>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3" name="TextBox 12">
            <a:extLst>
              <a:ext uri="{FF2B5EF4-FFF2-40B4-BE49-F238E27FC236}">
                <a16:creationId xmlns:a16="http://schemas.microsoft.com/office/drawing/2014/main" id="{8A690407-3DAB-734F-B7B9-AD1649E28B1F}"/>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4CCE4CC1-B981-467D-A4A7-1277D47A6137}"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itle 7">
            <a:extLst>
              <a:ext uri="{FF2B5EF4-FFF2-40B4-BE49-F238E27FC236}">
                <a16:creationId xmlns:a16="http://schemas.microsoft.com/office/drawing/2014/main" id="{C165D976-D3A0-244F-A266-9B5F914026FC}"/>
              </a:ext>
            </a:extLst>
          </p:cNvPr>
          <p:cNvSpPr>
            <a:spLocks noGrp="1"/>
          </p:cNvSpPr>
          <p:nvPr>
            <p:ph type="title"/>
          </p:nvPr>
        </p:nvSpPr>
        <p:spPr>
          <a:xfrm>
            <a:off x="568352" y="603435"/>
            <a:ext cx="4228936" cy="1099931"/>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a:t>
            </a:r>
          </a:p>
        </p:txBody>
      </p:sp>
    </p:spTree>
    <p:extLst>
      <p:ext uri="{BB962C8B-B14F-4D97-AF65-F5344CB8AC3E}">
        <p14:creationId xmlns:p14="http://schemas.microsoft.com/office/powerpoint/2010/main" val="2968738402"/>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gos 3 Colors">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p>
        </p:txBody>
      </p:sp>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bg1"/>
          </a:solidFill>
          <a:ln>
            <a:noFill/>
          </a:ln>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SAYFA </a:t>
            </a:r>
            <a:fld id="{C51CF051-CC31-482C-A8BE-D2B7155DFCB5}"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pic>
        <p:nvPicPr>
          <p:cNvPr id="4" name="Picture 3" descr="Logo&#10;&#10;Description automatically generated">
            <a:extLst>
              <a:ext uri="{FF2B5EF4-FFF2-40B4-BE49-F238E27FC236}">
                <a16:creationId xmlns:a16="http://schemas.microsoft.com/office/drawing/2014/main" id="{61019D1A-7232-164B-BB34-6BBBA1B1C3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8649" y="2544620"/>
            <a:ext cx="3779646" cy="1768759"/>
          </a:xfrm>
          <a:prstGeom prst="rect">
            <a:avLst/>
          </a:prstGeom>
        </p:spPr>
      </p:pic>
      <p:pic>
        <p:nvPicPr>
          <p:cNvPr id="9" name="Picture 8" descr="Logo&#10;&#10;Description automatically generated">
            <a:extLst>
              <a:ext uri="{FF2B5EF4-FFF2-40B4-BE49-F238E27FC236}">
                <a16:creationId xmlns:a16="http://schemas.microsoft.com/office/drawing/2014/main" id="{AF8A2D02-8425-9D45-945B-87B48D4D26F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261000" y="2544619"/>
            <a:ext cx="3779646" cy="1768760"/>
          </a:xfrm>
          <a:prstGeom prst="rect">
            <a:avLst/>
          </a:prstGeom>
        </p:spPr>
      </p:pic>
      <p:pic>
        <p:nvPicPr>
          <p:cNvPr id="11" name="Picture 10" descr="A picture containing text, transport, aircraft&#10;&#10;Description automatically generated">
            <a:extLst>
              <a:ext uri="{FF2B5EF4-FFF2-40B4-BE49-F238E27FC236}">
                <a16:creationId xmlns:a16="http://schemas.microsoft.com/office/drawing/2014/main" id="{9FB004AB-393C-CA4E-8BB3-CC7B126DE79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41415" y="2544619"/>
            <a:ext cx="3779646" cy="1768759"/>
          </a:xfrm>
          <a:prstGeom prst="rect">
            <a:avLst/>
          </a:prstGeom>
        </p:spPr>
      </p:pic>
    </p:spTree>
    <p:extLst>
      <p:ext uri="{BB962C8B-B14F-4D97-AF65-F5344CB8AC3E}">
        <p14:creationId xmlns:p14="http://schemas.microsoft.com/office/powerpoint/2010/main" val="281362059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89FC93A2-116A-4043-A08A-70DACBFC980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4931" y="1668026"/>
            <a:ext cx="3240594" cy="3240594"/>
          </a:xfrm>
          <a:prstGeom prst="rect">
            <a:avLst/>
          </a:prstGeom>
        </p:spPr>
      </p:pic>
      <p:pic>
        <p:nvPicPr>
          <p:cNvPr id="7" name="Picture 6" descr="Logo&#10;&#10;Description automatically generated">
            <a:extLst>
              <a:ext uri="{FF2B5EF4-FFF2-40B4-BE49-F238E27FC236}">
                <a16:creationId xmlns:a16="http://schemas.microsoft.com/office/drawing/2014/main" id="{E793A380-0825-AA49-9D61-F2A67DD1230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926475" y="1668026"/>
            <a:ext cx="3240594" cy="3240594"/>
          </a:xfrm>
          <a:prstGeom prst="rect">
            <a:avLst/>
          </a:prstGeom>
        </p:spPr>
      </p:pic>
      <p:pic>
        <p:nvPicPr>
          <p:cNvPr id="9" name="Picture 8" descr="Logo&#10;&#10;Description automatically generated">
            <a:extLst>
              <a:ext uri="{FF2B5EF4-FFF2-40B4-BE49-F238E27FC236}">
                <a16:creationId xmlns:a16="http://schemas.microsoft.com/office/drawing/2014/main" id="{197DB6B1-D1BE-FB4A-ACF1-76FB8564F44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475703" y="1668026"/>
            <a:ext cx="3240594" cy="3240594"/>
          </a:xfrm>
          <a:prstGeom prst="rect">
            <a:avLst/>
          </a:prstGeom>
        </p:spPr>
      </p:pic>
    </p:spTree>
    <p:extLst>
      <p:ext uri="{BB962C8B-B14F-4D97-AF65-F5344CB8AC3E}">
        <p14:creationId xmlns:p14="http://schemas.microsoft.com/office/powerpoint/2010/main" val="3763759239"/>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0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AB644-762A-78B9-54D9-8D08DF1AC1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8D4B37A5-2FF3-D03C-A1E3-5C3067263762}"/>
              </a:ext>
            </a:extLst>
          </p:cNvPr>
          <p:cNvSpPr>
            <a:spLocks noGrp="1"/>
          </p:cNvSpPr>
          <p:nvPr>
            <p:ph type="title"/>
          </p:nvPr>
        </p:nvSpPr>
        <p:spPr>
          <a:xfrm>
            <a:off x="609233" y="168381"/>
            <a:ext cx="10951910"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5955ED6C-27C8-0BE6-66C4-C99617BA86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95737" y="6584987"/>
            <a:ext cx="2324100" cy="107950"/>
          </a:xfrm>
          <a:prstGeom prst="rect">
            <a:avLst/>
          </a:prstGeom>
        </p:spPr>
      </p:pic>
      <p:pic>
        <p:nvPicPr>
          <p:cNvPr id="6" name="Picture 5">
            <a:extLst>
              <a:ext uri="{FF2B5EF4-FFF2-40B4-BE49-F238E27FC236}">
                <a16:creationId xmlns:a16="http://schemas.microsoft.com/office/drawing/2014/main" id="{F121651B-17C8-D249-2390-5566494A4205}"/>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10800000">
            <a:off x="11011648" y="0"/>
            <a:ext cx="1202971" cy="984249"/>
          </a:xfrm>
          <a:prstGeom prst="rect">
            <a:avLst/>
          </a:prstGeom>
        </p:spPr>
      </p:pic>
      <p:sp>
        <p:nvSpPr>
          <p:cNvPr id="8" name="TextBox 7">
            <a:extLst>
              <a:ext uri="{FF2B5EF4-FFF2-40B4-BE49-F238E27FC236}">
                <a16:creationId xmlns:a16="http://schemas.microsoft.com/office/drawing/2014/main" id="{3737415C-21A1-327B-15B5-C129D59365D3}"/>
              </a:ext>
            </a:extLst>
          </p:cNvPr>
          <p:cNvSpPr txBox="1"/>
          <p:nvPr userDrawn="1"/>
        </p:nvSpPr>
        <p:spPr>
          <a:xfrm>
            <a:off x="11064240" y="6589345"/>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70B001CD-89C1-F7AE-63E6-F2E4495AB5F6}"/>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24E7C63-8BEE-9577-3A62-8EC4D68DD44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BF563C-14BE-8725-3744-228100E3EF1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A190F70-2A5F-3DBA-9D7A-6EE3873339A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DC8A78E-26BB-16EA-EC53-9065D761581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95E006-0601-F8D7-3C49-3C7EF4C062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2DBFEF5-7DDD-931D-17BD-F1EB2E4FE48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DA30DD-51D9-0D16-A652-01DC1EDADF5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DA8BC8-2657-8EF4-48C9-E72798F2C9E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1DFD998-762C-EE05-A0B7-53157A3E2C8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366B16B-C169-4E72-F23E-30A3D09BC2A8}"/>
              </a:ext>
            </a:extLst>
          </p:cNvPr>
          <p:cNvSpPr>
            <a:spLocks noGrp="1"/>
          </p:cNvSpPr>
          <p:nvPr>
            <p:ph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defRPr>
            </a:lvl1pPr>
            <a:lvl2pPr>
              <a:defRPr>
                <a:solidFill>
                  <a:srgbClr val="133CCF"/>
                </a:solidFill>
              </a:defRPr>
            </a:lvl2pPr>
            <a:lvl3pPr>
              <a:defRPr>
                <a:solidFill>
                  <a:srgbClr val="133CCF"/>
                </a:solidFill>
              </a:defRPr>
            </a:lvl3pPr>
            <a:lvl4pPr>
              <a:defRPr>
                <a:solidFill>
                  <a:srgbClr val="133CCF"/>
                </a:solidFill>
              </a:defRPr>
            </a:lvl4pPr>
            <a:lvl5pPr>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879974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01">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8E6CCAFD-2BDF-C149-ABEA-30E622D97F26}"/>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FFFFFF"/>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FFFFFF"/>
                </a:solidFill>
                <a:effectLst/>
                <a:latin typeface="Calibri"/>
                <a:ea typeface="Calibri"/>
                <a:cs typeface="Calibri"/>
              </a:rPr>
              <a:t>PAGE </a:t>
            </a:r>
            <a:fld id="{E765F885-AD18-4E23-A033-6B139D29ED83}" type="slidenum">
              <a:rPr lang="tr-TR" sz="700" b="0" i="0" strike="noStrike" cap="none" spc="300" baseline="0">
                <a:solidFill>
                  <a:srgbClr val="FFFFFF"/>
                </a:solidFill>
                <a:effectLst/>
                <a:latin typeface="Calibri"/>
                <a:ea typeface="Calibri"/>
                <a:cs typeface="Calibri"/>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64691217"/>
      </p:ext>
    </p:extLst>
  </p:cSld>
  <p:clrMapOvr>
    <a:masterClrMapping/>
  </p:clrMapOvr>
  <p:transition/>
  <p:extLst>
    <p:ext uri="{DCECCB84-F9BA-43D5-87BE-67443E8EF086}">
      <p15:sldGuideLst xmlns:p15="http://schemas.microsoft.com/office/powerpoint/2012/main">
        <p15:guide id="1" orient="horz" pos="690" userDrawn="1">
          <p15:clr>
            <a:srgbClr val="FBAE40"/>
          </p15:clr>
        </p15:guide>
        <p15:guide id="2" pos="382" userDrawn="1">
          <p15:clr>
            <a:srgbClr val="FBAE40"/>
          </p15:clr>
        </p15:guide>
        <p15:guide id="3" pos="7294" userDrawn="1">
          <p15:clr>
            <a:srgbClr val="FBAE40"/>
          </p15:clr>
        </p15:guide>
        <p15:guide id="4" orient="horz" pos="74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DF3790-17AD-43A8-B15A-BE954398EB55}"/>
              </a:ext>
            </a:extLst>
          </p:cNvPr>
          <p:cNvGraphicFramePr>
            <a:graphicFrameLocks noChangeAspect="1"/>
          </p:cNvGraphicFramePr>
          <p:nvPr userDrawn="1">
            <p:custDataLst>
              <p:tags r:id="rId1"/>
            </p:custDataLst>
            <p:extLst>
              <p:ext uri="{D42A27DB-BD31-4B8C-83A1-F6EECF244321}">
                <p14:modId xmlns:p14="http://schemas.microsoft.com/office/powerpoint/2010/main" val="321709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C0DF3790-17AD-43A8-B15A-BE954398EB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1EC160E6-9612-4036-B1DC-07F77CE18C28}"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28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2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208010796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511B67-E3E1-41FC-91B2-AFEE235DDC34}"/>
              </a:ext>
            </a:extLst>
          </p:cNvPr>
          <p:cNvGraphicFramePr>
            <a:graphicFrameLocks noChangeAspect="1"/>
          </p:cNvGraphicFramePr>
          <p:nvPr userDrawn="1">
            <p:custDataLst>
              <p:tags r:id="rId1"/>
            </p:custDataLst>
            <p:extLst>
              <p:ext uri="{D42A27DB-BD31-4B8C-83A1-F6EECF244321}">
                <p14:modId xmlns:p14="http://schemas.microsoft.com/office/powerpoint/2010/main" val="2497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511B67-E3E1-41FC-91B2-AFEE235DD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mj-lt"/>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B47153FD-1DAF-4DBE-93B4-82516DAB5FD5}"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10041392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0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9F44EB-BD26-4AC9-98D1-305F2A417A2A}"/>
              </a:ext>
            </a:extLst>
          </p:cNvPr>
          <p:cNvGraphicFramePr>
            <a:graphicFrameLocks noChangeAspect="1"/>
          </p:cNvGraphicFramePr>
          <p:nvPr userDrawn="1">
            <p:custDataLst>
              <p:tags r:id="rId1"/>
            </p:custDataLst>
            <p:extLst>
              <p:ext uri="{D42A27DB-BD31-4B8C-83A1-F6EECF244321}">
                <p14:modId xmlns:p14="http://schemas.microsoft.com/office/powerpoint/2010/main" val="178888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9F44EB-BD26-4AC9-98D1-305F2A417A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r>
              <a:rPr lang="tr-TR" sz="700" b="0" i="0" strike="noStrike" cap="none" spc="300" baseline="0">
                <a:solidFill>
                  <a:srgbClr val="004CAC"/>
                </a:solidFill>
                <a:effectLst/>
                <a:latin typeface="Calibri"/>
                <a:ea typeface="Calibri"/>
                <a:cs typeface="Calibri"/>
              </a:rPr>
              <a:t>GİZLİ VE ÖZEL</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a:r>
              <a:rPr lang="tr-TR" sz="700" b="0" i="0" strike="noStrike" cap="none" spc="300" baseline="0">
                <a:solidFill>
                  <a:srgbClr val="004CAC"/>
                </a:solidFill>
                <a:effectLst/>
                <a:latin typeface="Calibri"/>
                <a:ea typeface="Calibri"/>
                <a:cs typeface="Calibri"/>
              </a:rPr>
              <a:t>PAGE </a:t>
            </a:r>
            <a:fld id="{25CBC52F-1383-4D70-9DF6-65BD40384D6B}" type="slidenum">
              <a:rPr lang="tr-TR" sz="700" b="0" i="0" strike="noStrike" cap="none" spc="300" baseline="0">
                <a:solidFill>
                  <a:srgbClr val="004CAC"/>
                </a:solidFill>
                <a:effectLst/>
                <a:latin typeface="Calibri"/>
                <a:ea typeface="Calibri"/>
                <a:cs typeface="Calibri"/>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B2458656-E94C-3A44-B039-341637731BFE}"/>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06688781"/>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4F95AF-2496-4632-A158-835CEA47C88B}"/>
              </a:ext>
            </a:extLst>
          </p:cNvPr>
          <p:cNvGraphicFramePr>
            <a:graphicFrameLocks noChangeAspect="1"/>
          </p:cNvGraphicFramePr>
          <p:nvPr userDrawn="1">
            <p:custDataLst>
              <p:tags r:id="rId59"/>
            </p:custDataLst>
            <p:extLst>
              <p:ext uri="{D42A27DB-BD31-4B8C-83A1-F6EECF244321}">
                <p14:modId xmlns:p14="http://schemas.microsoft.com/office/powerpoint/2010/main" val="13960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43" imgH="443" progId="TCLayout.ActiveDocument.1">
                  <p:embed/>
                </p:oleObj>
              </mc:Choice>
              <mc:Fallback>
                <p:oleObj name="think-cell Slide" r:id="rId60" imgW="443" imgH="443" progId="TCLayout.ActiveDocument.1">
                  <p:embed/>
                  <p:pic>
                    <p:nvPicPr>
                      <p:cNvPr id="8" name="Object 7" hidden="1">
                        <a:extLst>
                          <a:ext uri="{FF2B5EF4-FFF2-40B4-BE49-F238E27FC236}">
                            <a16:creationId xmlns:a16="http://schemas.microsoft.com/office/drawing/2014/main" id="{184F95AF-2496-4632-A158-835CEA47C88B}"/>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1FD0BA-3AA9-459F-A2B0-5B0986A4C245}" type="slidenum">
              <a:rPr lang="en-US" smtClean="0"/>
              <a:t>‹#›</a:t>
            </a:fld>
            <a:endParaRPr lang="en-US"/>
          </a:p>
        </p:txBody>
      </p:sp>
    </p:spTree>
    <p:extLst>
      <p:ext uri="{BB962C8B-B14F-4D97-AF65-F5344CB8AC3E}">
        <p14:creationId xmlns:p14="http://schemas.microsoft.com/office/powerpoint/2010/main" val="765661222"/>
      </p:ext>
    </p:extLst>
  </p:cSld>
  <p:clrMap bg1="lt1" tx1="dk1" bg2="lt2" tx2="dk2" accent1="accent1" accent2="accent2" accent3="accent3" accent4="accent4" accent5="accent5" accent6="accent6" hlink="hlink" folHlink="folHlink"/>
  <p:sldLayoutIdLst>
    <p:sldLayoutId id="2147483655" r:id="rId1"/>
    <p:sldLayoutId id="2147483720" r:id="rId2"/>
    <p:sldLayoutId id="2147483723" r:id="rId3"/>
    <p:sldLayoutId id="2147483721" r:id="rId4"/>
    <p:sldLayoutId id="2147483715" r:id="rId5"/>
    <p:sldLayoutId id="2147483708" r:id="rId6"/>
    <p:sldLayoutId id="2147483754" r:id="rId7"/>
    <p:sldLayoutId id="2147483759" r:id="rId8"/>
    <p:sldLayoutId id="2147483724" r:id="rId9"/>
    <p:sldLayoutId id="2147483725" r:id="rId10"/>
    <p:sldLayoutId id="2147483682" r:id="rId11"/>
    <p:sldLayoutId id="2147483761" r:id="rId12"/>
    <p:sldLayoutId id="2147483704" r:id="rId13"/>
    <p:sldLayoutId id="2147483722" r:id="rId14"/>
    <p:sldLayoutId id="2147483689" r:id="rId15"/>
    <p:sldLayoutId id="2147483755" r:id="rId16"/>
    <p:sldLayoutId id="2147483741" r:id="rId17"/>
    <p:sldLayoutId id="2147483672" r:id="rId18"/>
    <p:sldLayoutId id="2147483661" r:id="rId19"/>
    <p:sldLayoutId id="2147483668" r:id="rId20"/>
    <p:sldLayoutId id="2147483669" r:id="rId21"/>
    <p:sldLayoutId id="2147483670" r:id="rId22"/>
    <p:sldLayoutId id="2147483711" r:id="rId23"/>
    <p:sldLayoutId id="2147483671" r:id="rId24"/>
    <p:sldLayoutId id="2147483676" r:id="rId25"/>
    <p:sldLayoutId id="2147483727" r:id="rId26"/>
    <p:sldLayoutId id="2147483706" r:id="rId27"/>
    <p:sldLayoutId id="2147483756" r:id="rId28"/>
    <p:sldLayoutId id="2147483757" r:id="rId29"/>
    <p:sldLayoutId id="2147483758" r:id="rId30"/>
    <p:sldLayoutId id="2147483680" r:id="rId31"/>
    <p:sldLayoutId id="2147483677" r:id="rId32"/>
    <p:sldLayoutId id="2147483688" r:id="rId33"/>
    <p:sldLayoutId id="2147483681" r:id="rId34"/>
    <p:sldLayoutId id="2147483678" r:id="rId35"/>
    <p:sldLayoutId id="2147483683" r:id="rId36"/>
    <p:sldLayoutId id="2147483679" r:id="rId37"/>
    <p:sldLayoutId id="2147483748" r:id="rId38"/>
    <p:sldLayoutId id="2147483697" r:id="rId39"/>
    <p:sldLayoutId id="2147483751" r:id="rId40"/>
    <p:sldLayoutId id="2147483752" r:id="rId41"/>
    <p:sldLayoutId id="2147483750" r:id="rId42"/>
    <p:sldLayoutId id="2147483698" r:id="rId43"/>
    <p:sldLayoutId id="2147483749" r:id="rId44"/>
    <p:sldLayoutId id="2147483700" r:id="rId45"/>
    <p:sldLayoutId id="2147483701" r:id="rId46"/>
    <p:sldLayoutId id="2147483745" r:id="rId47"/>
    <p:sldLayoutId id="2147483746" r:id="rId48"/>
    <p:sldLayoutId id="2147483731" r:id="rId49"/>
    <p:sldLayoutId id="2147483719" r:id="rId50"/>
    <p:sldLayoutId id="2147483738" r:id="rId51"/>
    <p:sldLayoutId id="2147483744" r:id="rId52"/>
    <p:sldLayoutId id="2147483702" r:id="rId53"/>
    <p:sldLayoutId id="2147483703" r:id="rId54"/>
    <p:sldLayoutId id="2147483753" r:id="rId55"/>
    <p:sldLayoutId id="2147483673" r:id="rId56"/>
    <p:sldLayoutId id="2147483762" r:id="rId57"/>
  </p:sldLayoutIdLst>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47" userDrawn="1">
          <p15:clr>
            <a:srgbClr val="F26B43"/>
          </p15:clr>
        </p15:guide>
        <p15:guide id="2" pos="382" userDrawn="1">
          <p15:clr>
            <a:srgbClr val="F26B43"/>
          </p15:clr>
        </p15:guide>
        <p15:guide id="3" pos="7294" userDrawn="1">
          <p15:clr>
            <a:srgbClr val="F26B43"/>
          </p15:clr>
        </p15:guide>
        <p15:guide id="4" orient="horz" pos="690" userDrawn="1">
          <p15:clr>
            <a:srgbClr val="F26B43"/>
          </p15:clr>
        </p15:guide>
        <p15:guide id="5" orient="horz" pos="4032" userDrawn="1">
          <p15:clr>
            <a:srgbClr val="F26B43"/>
          </p15:clr>
        </p15:guide>
        <p15:guide id="6" orient="horz" pos="40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67.svg"/><Relationship Id="rId13" Type="http://schemas.openxmlformats.org/officeDocument/2006/relationships/hyperlink" Target="https://ghgprotocol.org/sites/default/files/standards/ghg-protocol-revised.pdf" TargetMode="External"/><Relationship Id="rId3" Type="http://schemas.openxmlformats.org/officeDocument/2006/relationships/notesSlide" Target="../notesSlides/notesSlide8.xml"/><Relationship Id="rId7" Type="http://schemas.openxmlformats.org/officeDocument/2006/relationships/image" Target="../media/image66.png"/><Relationship Id="rId12" Type="http://schemas.openxmlformats.org/officeDocument/2006/relationships/image" Target="../media/image71.sv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10.emf"/><Relationship Id="rId10" Type="http://schemas.openxmlformats.org/officeDocument/2006/relationships/image" Target="../media/image69.svg"/><Relationship Id="rId4" Type="http://schemas.openxmlformats.org/officeDocument/2006/relationships/oleObject" Target="../embeddings/oleObject10.bin"/><Relationship Id="rId9" Type="http://schemas.openxmlformats.org/officeDocument/2006/relationships/image" Target="../media/image6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72.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9.xml"/><Relationship Id="rId1" Type="http://schemas.openxmlformats.org/officeDocument/2006/relationships/tags" Target="../tags/tag13.xml"/><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73.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notesSlide" Target="../notesSlides/notesSlide12.xml"/><Relationship Id="rId7" Type="http://schemas.openxmlformats.org/officeDocument/2006/relationships/hyperlink" Target="https://www.cdp.net/en/info/accredited-solutions-providers/all-accredited-service-providers" TargetMode="Externa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hyperlink" Target="https://www.epa.gov/climateleadership/simplified-ghg-emissions-calculator" TargetMode="External"/><Relationship Id="rId5" Type="http://schemas.openxmlformats.org/officeDocument/2006/relationships/image" Target="../media/image10.emf"/><Relationship Id="rId4" Type="http://schemas.openxmlformats.org/officeDocument/2006/relationships/oleObject" Target="../embeddings/oleObject14.bin"/><Relationship Id="rId9" Type="http://schemas.openxmlformats.org/officeDocument/2006/relationships/image" Target="../media/image75.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hyperlink" Target="https://sepassets.blob.core.windows.net/sep-assets/Navigating%20GHG%20Emissions%20Walkthrough.mp4?sv=2020-04-08&amp;st=2021-07-14T14:57:48Z&amp;se=2040-01-15T15:57:00Z&amp;sr=b&amp;sp=r&amp;sig=QW9A%2BnQ6SAAAAYyBZ7SudUaU8DlftiWiuySVRaxx98Q%3D" TargetMode="External"/><Relationship Id="rId3" Type="http://schemas.openxmlformats.org/officeDocument/2006/relationships/notesSlide" Target="../notesSlides/notesSlide14.xml"/><Relationship Id="rId7" Type="http://schemas.openxmlformats.org/officeDocument/2006/relationships/hyperlink" Target="https://www.gov.uk/government/collections/government-conversion-factors-for-company-reporting" TargetMode="External"/><Relationship Id="rId12" Type="http://schemas.openxmlformats.org/officeDocument/2006/relationships/image" Target="../media/image79.jpeg"/><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hyperlink" Target="https://www.epa.gov/climateleadership/ghg-emission-factors-hub" TargetMode="External"/><Relationship Id="rId11" Type="http://schemas.openxmlformats.org/officeDocument/2006/relationships/image" Target="../media/image78.png"/><Relationship Id="rId5" Type="http://schemas.openxmlformats.org/officeDocument/2006/relationships/image" Target="../media/image10.emf"/><Relationship Id="rId10" Type="http://schemas.openxmlformats.org/officeDocument/2006/relationships/image" Target="../media/image77.svg"/><Relationship Id="rId4" Type="http://schemas.openxmlformats.org/officeDocument/2006/relationships/oleObject" Target="../embeddings/oleObject16.bin"/><Relationship Id="rId9" Type="http://schemas.openxmlformats.org/officeDocument/2006/relationships/image" Target="../media/image76.png"/></Relationships>
</file>

<file path=ppt/slides/_rels/slide17.xml.rels><?xml version="1.0" encoding="UTF-8" standalone="yes"?>
<Relationships xmlns="http://schemas.openxmlformats.org/package/2006/relationships"><Relationship Id="rId8" Type="http://schemas.openxmlformats.org/officeDocument/2006/relationships/image" Target="../media/image80.jpeg"/><Relationship Id="rId3" Type="http://schemas.openxmlformats.org/officeDocument/2006/relationships/notesSlide" Target="../notesSlides/notesSlide15.xml"/><Relationship Id="rId7" Type="http://schemas.openxmlformats.org/officeDocument/2006/relationships/hyperlink" Target="https://www.epa.gov/sites/default/files/2015-07/documents/fugitiveemissions.pdf"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hyperlink" Target="https://sepassets.blob.core.windows.net/sep-assets/GHG%20Emissions%20Module%201.pdf" TargetMode="Externa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notesSlide" Target="../notesSlides/notesSlide16.xml"/><Relationship Id="rId7" Type="http://schemas.openxmlformats.org/officeDocument/2006/relationships/image" Target="../media/image81.png"/><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63.png"/><Relationship Id="rId11" Type="http://schemas.openxmlformats.org/officeDocument/2006/relationships/hyperlink" Target="https://cdn.cdp.net/cdp-production/cms/guidance_docs/pdfs/000/000/415/original/CDP-Accounting-of-Scope-2-Emissions.pdf?1617880167" TargetMode="External"/><Relationship Id="rId5" Type="http://schemas.openxmlformats.org/officeDocument/2006/relationships/image" Target="../media/image10.emf"/><Relationship Id="rId10" Type="http://schemas.openxmlformats.org/officeDocument/2006/relationships/hyperlink" Target="https://ghgprotocol.org/scope_2_guidance" TargetMode="External"/><Relationship Id="rId4" Type="http://schemas.openxmlformats.org/officeDocument/2006/relationships/oleObject" Target="../embeddings/oleObject18.bin"/><Relationship Id="rId9" Type="http://schemas.openxmlformats.org/officeDocument/2006/relationships/hyperlink" Target="mailto:erik.hut@pepsico.com"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0.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8" Type="http://schemas.openxmlformats.org/officeDocument/2006/relationships/hyperlink" Target="https://www.gov.uk/government/collections/government-conversion-factors-for-company-reporting" TargetMode="External"/><Relationship Id="rId13" Type="http://schemas.openxmlformats.org/officeDocument/2006/relationships/image" Target="../media/image85.png"/><Relationship Id="rId3" Type="http://schemas.openxmlformats.org/officeDocument/2006/relationships/notesSlide" Target="../notesSlides/notesSlide18.xml"/><Relationship Id="rId7" Type="http://schemas.openxmlformats.org/officeDocument/2006/relationships/hyperlink" Target="https://www.epa.gov/climateleadership/ghg-emission-factors-hub" TargetMode="External"/><Relationship Id="rId12" Type="http://schemas.openxmlformats.org/officeDocument/2006/relationships/image" Target="../media/image84.jpeg"/><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hyperlink" Target="https://www.iea.org/data-and-statistics/data-product/emissions-factors-2021" TargetMode="External"/><Relationship Id="rId11" Type="http://schemas.openxmlformats.org/officeDocument/2006/relationships/image" Target="../media/image77.svg"/><Relationship Id="rId5" Type="http://schemas.openxmlformats.org/officeDocument/2006/relationships/image" Target="../media/image10.emf"/><Relationship Id="rId10" Type="http://schemas.openxmlformats.org/officeDocument/2006/relationships/image" Target="../media/image76.png"/><Relationship Id="rId4" Type="http://schemas.openxmlformats.org/officeDocument/2006/relationships/oleObject" Target="../embeddings/oleObject20.bin"/><Relationship Id="rId9" Type="http://schemas.openxmlformats.org/officeDocument/2006/relationships/hyperlink" Target="https://sepassets.blob.core.windows.net/sep-assets/Navigating%20GHG%20Emissions%20Walkthrough.mp4?sv=2020-04-08&amp;st=2021-07-14T14:57:48Z&amp;se=2040-01-15T15:57:00Z&amp;sr=b&amp;sp=r&amp;sig=QW9A%2BnQ6SAAAAYyBZ7SudUaU8DlftiWiuySVRaxx98Q%3D" TargetMode="External"/><Relationship Id="rId14"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9.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72.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9.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8.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87.png"/><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9.xml"/><Relationship Id="rId1" Type="http://schemas.openxmlformats.org/officeDocument/2006/relationships/tags" Target="../tags/tag26.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3" Type="http://schemas.openxmlformats.org/officeDocument/2006/relationships/hyperlink" Target="https://sustainabilityaction.pepsico.com/" TargetMode="External"/><Relationship Id="rId2" Type="http://schemas.openxmlformats.org/officeDocument/2006/relationships/hyperlink" Target="mailto:loctpartners@guidehouse.com" TargetMode="External"/><Relationship Id="rId1" Type="http://schemas.openxmlformats.org/officeDocument/2006/relationships/slideLayout" Target="../slideLayouts/slideLayout57.xml"/><Relationship Id="rId4" Type="http://schemas.openxmlformats.org/officeDocument/2006/relationships/hyperlink" Target="https://neonetworkexchange.com/peprenew"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neonetworkexchange.com/peprenew" TargetMode="External"/><Relationship Id="rId2" Type="http://schemas.openxmlformats.org/officeDocument/2006/relationships/hyperlink" Target="https://sustainabilityaction.pepsico.com/" TargetMode="External"/><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8" Type="http://schemas.openxmlformats.org/officeDocument/2006/relationships/hyperlink" Target="https://www.cdp.net/en/info/accredited-solutions-providers/all-accredited-service-providers" TargetMode="External"/><Relationship Id="rId3" Type="http://schemas.openxmlformats.org/officeDocument/2006/relationships/notesSlide" Target="../notesSlides/notesSlide24.xml"/><Relationship Id="rId7" Type="http://schemas.openxmlformats.org/officeDocument/2006/relationships/image" Target="../media/image90.png"/><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89.png"/><Relationship Id="rId5" Type="http://schemas.openxmlformats.org/officeDocument/2006/relationships/image" Target="../media/image10.emf"/><Relationship Id="rId4" Type="http://schemas.openxmlformats.org/officeDocument/2006/relationships/oleObject" Target="../embeddings/oleObject26.bin"/><Relationship Id="rId9" Type="http://schemas.openxmlformats.org/officeDocument/2006/relationships/hyperlink" Target="https://microsoft.github.io/Sustainability-Resources/greenhouse-gas-emissions/"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microsoft.github.io/Sustainability-Resources/greenhouse-gas-emissions/" TargetMode="External"/><Relationship Id="rId2" Type="http://schemas.openxmlformats.org/officeDocument/2006/relationships/hyperlink" Target="https://guidehouse.com/capabilities/industries/energy-sustainability-infrastructure/solutions/supplier-leadership-on-climate-transition" TargetMode="External"/><Relationship Id="rId1" Type="http://schemas.openxmlformats.org/officeDocument/2006/relationships/slideLayout" Target="../slideLayouts/slideLayout10.xml"/><Relationship Id="rId6" Type="http://schemas.openxmlformats.org/officeDocument/2006/relationships/hyperlink" Target="https://ghgprotocol.org/sites/default/files/standards/Scope%202%20Guidance_Final_Sept26.pdf" TargetMode="External"/><Relationship Id="rId5" Type="http://schemas.openxmlformats.org/officeDocument/2006/relationships/hyperlink" Target="https://ghgprotocol.org/sites/default/files/standards/ghg-protocol-revised.pdf" TargetMode="External"/><Relationship Id="rId4" Type="http://schemas.openxmlformats.org/officeDocument/2006/relationships/hyperlink" Target="https://ghgprotocol.org"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29.xml"/><Relationship Id="rId5" Type="http://schemas.openxmlformats.org/officeDocument/2006/relationships/image" Target="../media/image10.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8" Type="http://schemas.openxmlformats.org/officeDocument/2006/relationships/hyperlink" Target="https://www.cdp.net/en/info/accredited-solutions-providers/all-accredited-service-providers" TargetMode="External"/><Relationship Id="rId3" Type="http://schemas.openxmlformats.org/officeDocument/2006/relationships/notesSlide" Target="../notesSlides/notesSlide27.xml"/><Relationship Id="rId7" Type="http://schemas.openxmlformats.org/officeDocument/2006/relationships/hyperlink" Target="https://sepassets.blob.core.windows.net/sep-assets/GHG%20Emissions%20Module%202.pdf" TargetMode="External"/><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hyperlink" Target="https://sepassets.blob.core.windows.net/sep-assets/GHG%20Emissions%20Module%201.pdf" TargetMode="External"/><Relationship Id="rId11" Type="http://schemas.openxmlformats.org/officeDocument/2006/relationships/image" Target="../media/image75.png"/><Relationship Id="rId5" Type="http://schemas.openxmlformats.org/officeDocument/2006/relationships/image" Target="../media/image10.emf"/><Relationship Id="rId10" Type="http://schemas.openxmlformats.org/officeDocument/2006/relationships/image" Target="../media/image91.jpeg"/><Relationship Id="rId4" Type="http://schemas.openxmlformats.org/officeDocument/2006/relationships/oleObject" Target="../embeddings/oleObject29.bin"/><Relationship Id="rId9" Type="http://schemas.openxmlformats.org/officeDocument/2006/relationships/hyperlink" Target="https://sustainabilityaction.pepsico.com/"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3" Type="http://schemas.openxmlformats.org/officeDocument/2006/relationships/image" Target="../media/image52.png"/><Relationship Id="rId7" Type="http://schemas.openxmlformats.org/officeDocument/2006/relationships/image" Target="../media/image21.png"/><Relationship Id="rId12" Type="http://schemas.openxmlformats.org/officeDocument/2006/relationships/image" Target="../media/image60.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55.png"/><Relationship Id="rId11" Type="http://schemas.openxmlformats.org/officeDocument/2006/relationships/image" Target="../media/image59.png"/><Relationship Id="rId5" Type="http://schemas.openxmlformats.org/officeDocument/2006/relationships/image" Target="../media/image54.png"/><Relationship Id="rId10" Type="http://schemas.openxmlformats.org/officeDocument/2006/relationships/image" Target="../media/image58.png"/><Relationship Id="rId4" Type="http://schemas.openxmlformats.org/officeDocument/2006/relationships/image" Target="../media/image53.png"/><Relationship Id="rId9" Type="http://schemas.openxmlformats.org/officeDocument/2006/relationships/image" Target="../media/image57.png"/><Relationship Id="rId14" Type="http://schemas.openxmlformats.org/officeDocument/2006/relationships/image" Target="../media/image6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9.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63.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9.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64.jpeg"/><Relationship Id="rId5" Type="http://schemas.openxmlformats.org/officeDocument/2006/relationships/image" Target="../media/image1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83DE8A9-6545-49FA-B7F8-378C40568D28}"/>
              </a:ext>
            </a:extLst>
          </p:cNvPr>
          <p:cNvSpPr>
            <a:spLocks noGrp="1"/>
          </p:cNvSpPr>
          <p:nvPr>
            <p:ph type="body" sz="quarter" idx="13"/>
          </p:nvPr>
        </p:nvSpPr>
        <p:spPr/>
        <p:txBody>
          <a:bodyPr>
            <a:normAutofit fontScale="92500" lnSpcReduction="10000"/>
          </a:bodyPr>
          <a:lstStyle/>
          <a:p>
            <a:pPr>
              <a:lnSpc>
                <a:spcPct val="100000"/>
              </a:lnSpc>
            </a:pPr>
            <a:r>
              <a:rPr lang="tr-TR" sz="1700" b="0" i="0" strike="noStrike" cap="none" spc="0" baseline="0">
                <a:solidFill>
                  <a:srgbClr val="FFFFFF"/>
                </a:solidFill>
                <a:effectLst/>
                <a:latin typeface="Calibri"/>
                <a:ea typeface="Calibri"/>
                <a:cs typeface="Calibri"/>
              </a:rPr>
              <a:t>Tedarikçiler için Kılavuz</a:t>
            </a:r>
          </a:p>
        </p:txBody>
      </p:sp>
      <p:sp>
        <p:nvSpPr>
          <p:cNvPr id="5" name="Text Placeholder 4">
            <a:extLst>
              <a:ext uri="{FF2B5EF4-FFF2-40B4-BE49-F238E27FC236}">
                <a16:creationId xmlns:a16="http://schemas.microsoft.com/office/drawing/2014/main" id="{EA7DAABA-C8F8-4B68-B6B2-F21CA26C7F2D}"/>
              </a:ext>
            </a:extLst>
          </p:cNvPr>
          <p:cNvSpPr>
            <a:spLocks noGrp="1"/>
          </p:cNvSpPr>
          <p:nvPr>
            <p:ph type="body" sz="quarter" idx="14"/>
          </p:nvPr>
        </p:nvSpPr>
        <p:spPr/>
        <p:txBody>
          <a:bodyPr>
            <a:normAutofit/>
          </a:bodyPr>
          <a:lstStyle/>
          <a:p>
            <a:r>
              <a:rPr lang="tr-TR" sz="1400" b="0" i="0" strike="noStrike" cap="none" spc="0" baseline="0">
                <a:solidFill>
                  <a:srgbClr val="FFFFFF"/>
                </a:solidFill>
                <a:effectLst/>
                <a:latin typeface="Calibri"/>
                <a:ea typeface="Calibri"/>
                <a:cs typeface="Calibri"/>
              </a:rPr>
              <a:t>Ağustos 2022</a:t>
            </a:r>
          </a:p>
        </p:txBody>
      </p:sp>
      <p:sp>
        <p:nvSpPr>
          <p:cNvPr id="2" name="Text Placeholder 1">
            <a:extLst>
              <a:ext uri="{FF2B5EF4-FFF2-40B4-BE49-F238E27FC236}">
                <a16:creationId xmlns:a16="http://schemas.microsoft.com/office/drawing/2014/main" id="{6D1E4C77-7C28-E650-7C22-7E36B500A9F9}"/>
              </a:ext>
            </a:extLst>
          </p:cNvPr>
          <p:cNvSpPr>
            <a:spLocks noGrp="1"/>
          </p:cNvSpPr>
          <p:nvPr>
            <p:ph type="body" sz="quarter" idx="15"/>
          </p:nvPr>
        </p:nvSpPr>
        <p:spPr/>
        <p:txBody>
          <a:bodyPr anchor="b"/>
          <a:lstStyle/>
          <a:p>
            <a:r>
              <a:rPr lang="tr-TR" sz="3000" b="1" i="0" strike="noStrike" cap="none" spc="0" baseline="0">
                <a:solidFill>
                  <a:srgbClr val="FFFFFF"/>
                </a:solidFill>
                <a:effectLst/>
                <a:latin typeface="Calibri"/>
                <a:ea typeface="Calibri"/>
                <a:cs typeface="Calibri"/>
              </a:rPr>
              <a:t>Kapsam 1+2 Emisyonların Hesaplanması</a:t>
            </a:r>
          </a:p>
        </p:txBody>
      </p:sp>
    </p:spTree>
    <p:extLst>
      <p:ext uri="{BB962C8B-B14F-4D97-AF65-F5344CB8AC3E}">
        <p14:creationId xmlns:p14="http://schemas.microsoft.com/office/powerpoint/2010/main" val="71508221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BAAB72-A240-CB0F-92B6-D30BC216A398}"/>
              </a:ext>
            </a:extLst>
          </p:cNvPr>
          <p:cNvGraphicFramePr>
            <a:graphicFrameLocks noChangeAspect="1"/>
          </p:cNvGraphicFramePr>
          <p:nvPr>
            <p:custDataLst>
              <p:tags r:id="rId1"/>
            </p:custDataLst>
            <p:extLst>
              <p:ext uri="{D42A27DB-BD31-4B8C-83A1-F6EECF244321}">
                <p14:modId xmlns:p14="http://schemas.microsoft.com/office/powerpoint/2010/main" val="236719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 name="Object 10" hidden="1">
                        <a:extLst>
                          <a:ext uri="{FF2B5EF4-FFF2-40B4-BE49-F238E27FC236}">
                            <a16:creationId xmlns:a16="http://schemas.microsoft.com/office/drawing/2014/main" id="{7DBAAB72-A240-CB0F-92B6-D30BC216A3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BE3064E-F3CA-5A82-54B5-1BB388640639}"/>
              </a:ext>
            </a:extLst>
          </p:cNvPr>
          <p:cNvSpPr/>
          <p:nvPr/>
        </p:nvSpPr>
        <p:spPr>
          <a:xfrm>
            <a:off x="606425" y="1215766"/>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lvl="0"/>
            <a:r>
              <a:rPr lang="tr-TR" sz="2000" b="1" i="0" strike="noStrike" cap="none" spc="0" baseline="0">
                <a:solidFill>
                  <a:srgbClr val="0065E5"/>
                </a:solidFill>
                <a:effectLst/>
                <a:latin typeface="Calibri"/>
                <a:ea typeface="Calibri"/>
                <a:cs typeface="Calibri"/>
              </a:rPr>
              <a:t>Hangi tesislerin ve emisyonların Kapsam 1 ve 2 ayak iziniz kapsamına girdiğini belirlemek için üç yaklaşım vardır (yani “kuruluş sınırınızı” belirlemek için)</a:t>
            </a:r>
          </a:p>
        </p:txBody>
      </p:sp>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b) Kurumsal sınırınızı belirleyin</a:t>
            </a:r>
          </a:p>
        </p:txBody>
      </p:sp>
      <p:sp>
        <p:nvSpPr>
          <p:cNvPr id="18" name="Content Placeholder 2">
            <a:extLst>
              <a:ext uri="{FF2B5EF4-FFF2-40B4-BE49-F238E27FC236}">
                <a16:creationId xmlns:a16="http://schemas.microsoft.com/office/drawing/2014/main" id="{CF051602-5C00-4730-4F61-0632EC1ADF56}"/>
              </a:ext>
            </a:extLst>
          </p:cNvPr>
          <p:cNvSpPr txBox="1"/>
          <p:nvPr/>
        </p:nvSpPr>
        <p:spPr>
          <a:xfrm>
            <a:off x="7991454"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tr-TR" sz="2000" b="1" i="0" strike="noStrike" cap="none" spc="0" baseline="0">
                <a:solidFill>
                  <a:srgbClr val="FFFFFF"/>
                </a:solidFill>
                <a:effectLst/>
                <a:latin typeface="Calibri"/>
                <a:ea typeface="Calibri"/>
                <a:cs typeface="Calibri"/>
              </a:rPr>
              <a:t>Hisse Senedi</a:t>
            </a:r>
          </a:p>
        </p:txBody>
      </p:sp>
      <p:sp>
        <p:nvSpPr>
          <p:cNvPr id="19" name="Content Placeholder 2">
            <a:extLst>
              <a:ext uri="{FF2B5EF4-FFF2-40B4-BE49-F238E27FC236}">
                <a16:creationId xmlns:a16="http://schemas.microsoft.com/office/drawing/2014/main" id="{DC99B8C8-F0E8-C548-6BF5-E7CC9C3A94C9}"/>
              </a:ext>
            </a:extLst>
          </p:cNvPr>
          <p:cNvSpPr txBox="1"/>
          <p:nvPr/>
        </p:nvSpPr>
        <p:spPr>
          <a:xfrm>
            <a:off x="4327813"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tr-TR" sz="2000" b="1" i="0" strike="noStrike" cap="none" spc="0" baseline="0">
                <a:solidFill>
                  <a:srgbClr val="FFFFFF"/>
                </a:solidFill>
                <a:effectLst/>
                <a:latin typeface="Calibri"/>
                <a:ea typeface="Calibri"/>
                <a:cs typeface="Calibri"/>
              </a:rPr>
              <a:t>Finansal Kontrol</a:t>
            </a:r>
          </a:p>
        </p:txBody>
      </p:sp>
      <p:sp>
        <p:nvSpPr>
          <p:cNvPr id="20" name="Content Placeholder 2">
            <a:extLst>
              <a:ext uri="{FF2B5EF4-FFF2-40B4-BE49-F238E27FC236}">
                <a16:creationId xmlns:a16="http://schemas.microsoft.com/office/drawing/2014/main" id="{7F49FAD7-39C6-0947-EC62-E78DFB6CE487}"/>
              </a:ext>
            </a:extLst>
          </p:cNvPr>
          <p:cNvSpPr txBox="1"/>
          <p:nvPr/>
        </p:nvSpPr>
        <p:spPr>
          <a:xfrm>
            <a:off x="619973"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ct val="0"/>
              </a:spcBef>
              <a:spcAft>
                <a:spcPct val="0"/>
              </a:spcAft>
              <a:buClrTx/>
              <a:buSzTx/>
              <a:buFont typeface="Arial" panose="020B0604020202020204" pitchFamily="34" charset="0"/>
              <a:buNone/>
              <a:defRPr/>
            </a:pPr>
            <a:r>
              <a:rPr lang="tr-TR" sz="2000" b="1" i="0" strike="noStrike" cap="none" spc="0" baseline="0">
                <a:solidFill>
                  <a:srgbClr val="FFFFFF"/>
                </a:solidFill>
                <a:effectLst/>
                <a:latin typeface="Calibri"/>
                <a:ea typeface="Calibri"/>
                <a:cs typeface="Calibri"/>
              </a:rPr>
              <a:t>Operasyonel Kontrol</a:t>
            </a:r>
          </a:p>
        </p:txBody>
      </p:sp>
      <p:grpSp>
        <p:nvGrpSpPr>
          <p:cNvPr id="9" name="Group 8">
            <a:extLst>
              <a:ext uri="{FF2B5EF4-FFF2-40B4-BE49-F238E27FC236}">
                <a16:creationId xmlns:a16="http://schemas.microsoft.com/office/drawing/2014/main" id="{D69BE009-BE01-86B8-A840-B5240E6DAA45}"/>
              </a:ext>
            </a:extLst>
          </p:cNvPr>
          <p:cNvGrpSpPr/>
          <p:nvPr/>
        </p:nvGrpSpPr>
        <p:grpSpPr>
          <a:xfrm>
            <a:off x="9179591" y="3018876"/>
            <a:ext cx="1167300" cy="1166934"/>
            <a:chOff x="9251177" y="2896765"/>
            <a:chExt cx="1024128" cy="1023806"/>
          </a:xfrm>
        </p:grpSpPr>
        <p:pic>
          <p:nvPicPr>
            <p:cNvPr id="34" name="Picture 33" descr="A picture containing shape&#10;&#10;Description automatically generated">
              <a:extLst>
                <a:ext uri="{FF2B5EF4-FFF2-40B4-BE49-F238E27FC236}">
                  <a16:creationId xmlns:a16="http://schemas.microsoft.com/office/drawing/2014/main" id="{35D0D47E-62FE-11E6-1FED-82C59BBC007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251177"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5" name="Oval 34">
              <a:extLst>
                <a:ext uri="{FF2B5EF4-FFF2-40B4-BE49-F238E27FC236}">
                  <a16:creationId xmlns:a16="http://schemas.microsoft.com/office/drawing/2014/main" id="{1104EC74-3049-BBA6-4D8A-F9F8007266ED}"/>
                </a:ext>
              </a:extLst>
            </p:cNvPr>
            <p:cNvSpPr/>
            <p:nvPr/>
          </p:nvSpPr>
          <p:spPr>
            <a:xfrm>
              <a:off x="9316116"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descr="Pie chart">
              <a:extLst>
                <a:ext uri="{FF2B5EF4-FFF2-40B4-BE49-F238E27FC236}">
                  <a16:creationId xmlns:a16="http://schemas.microsoft.com/office/drawing/2014/main" id="{28B9FA5A-4F84-79C2-AD78-5CF5B9C958E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22690" y="3068117"/>
              <a:ext cx="681103" cy="681103"/>
            </a:xfrm>
            <a:prstGeom prst="rect">
              <a:avLst/>
            </a:prstGeom>
          </p:spPr>
        </p:pic>
      </p:grpSp>
      <p:grpSp>
        <p:nvGrpSpPr>
          <p:cNvPr id="8" name="Group 7">
            <a:extLst>
              <a:ext uri="{FF2B5EF4-FFF2-40B4-BE49-F238E27FC236}">
                <a16:creationId xmlns:a16="http://schemas.microsoft.com/office/drawing/2014/main" id="{5C3C4E25-A8AD-E94F-37C3-9E98168FDA6B}"/>
              </a:ext>
            </a:extLst>
          </p:cNvPr>
          <p:cNvGrpSpPr/>
          <p:nvPr/>
        </p:nvGrpSpPr>
        <p:grpSpPr>
          <a:xfrm>
            <a:off x="5493850" y="3018876"/>
            <a:ext cx="1167300" cy="1166934"/>
            <a:chOff x="5565436" y="2896765"/>
            <a:chExt cx="1024128" cy="1023806"/>
          </a:xfrm>
        </p:grpSpPr>
        <p:pic>
          <p:nvPicPr>
            <p:cNvPr id="31" name="Picture 30" descr="A picture containing shape&#10;&#10;Description automatically generated">
              <a:extLst>
                <a:ext uri="{FF2B5EF4-FFF2-40B4-BE49-F238E27FC236}">
                  <a16:creationId xmlns:a16="http://schemas.microsoft.com/office/drawing/2014/main" id="{1BE22326-B485-2961-07D9-14163674544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56543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2" name="Oval 31">
              <a:extLst>
                <a:ext uri="{FF2B5EF4-FFF2-40B4-BE49-F238E27FC236}">
                  <a16:creationId xmlns:a16="http://schemas.microsoft.com/office/drawing/2014/main" id="{51A04B77-893A-998A-9B94-6D70B4A9630F}"/>
                </a:ext>
              </a:extLst>
            </p:cNvPr>
            <p:cNvSpPr/>
            <p:nvPr/>
          </p:nvSpPr>
          <p:spPr>
            <a:xfrm>
              <a:off x="563037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Coins">
              <a:extLst>
                <a:ext uri="{FF2B5EF4-FFF2-40B4-BE49-F238E27FC236}">
                  <a16:creationId xmlns:a16="http://schemas.microsoft.com/office/drawing/2014/main" id="{67DC3978-B100-DB1C-EC6A-A61D5E590D6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36949" y="3068117"/>
              <a:ext cx="681103" cy="681103"/>
            </a:xfrm>
            <a:prstGeom prst="rect">
              <a:avLst/>
            </a:prstGeom>
          </p:spPr>
        </p:pic>
      </p:grpSp>
      <p:grpSp>
        <p:nvGrpSpPr>
          <p:cNvPr id="7" name="Group 6">
            <a:extLst>
              <a:ext uri="{FF2B5EF4-FFF2-40B4-BE49-F238E27FC236}">
                <a16:creationId xmlns:a16="http://schemas.microsoft.com/office/drawing/2014/main" id="{E2C4A4C4-EA11-5812-6DB6-6BA73D5C38C3}"/>
              </a:ext>
            </a:extLst>
          </p:cNvPr>
          <p:cNvGrpSpPr/>
          <p:nvPr/>
        </p:nvGrpSpPr>
        <p:grpSpPr>
          <a:xfrm>
            <a:off x="1808110" y="3018876"/>
            <a:ext cx="1167300" cy="1166934"/>
            <a:chOff x="1879696" y="2896765"/>
            <a:chExt cx="1024128" cy="1023806"/>
          </a:xfrm>
        </p:grpSpPr>
        <p:pic>
          <p:nvPicPr>
            <p:cNvPr id="27" name="Picture 26" descr="A picture containing shape&#10;&#10;Description automatically generated">
              <a:extLst>
                <a:ext uri="{FF2B5EF4-FFF2-40B4-BE49-F238E27FC236}">
                  <a16:creationId xmlns:a16="http://schemas.microsoft.com/office/drawing/2014/main" id="{1514F4BF-9D87-D6D0-2562-100168B13C5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7969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8" name="Oval 27">
              <a:extLst>
                <a:ext uri="{FF2B5EF4-FFF2-40B4-BE49-F238E27FC236}">
                  <a16:creationId xmlns:a16="http://schemas.microsoft.com/office/drawing/2014/main" id="{2CE61A93-A15F-3FEC-B75E-83E6CBF6261C}"/>
                </a:ext>
              </a:extLst>
            </p:cNvPr>
            <p:cNvSpPr/>
            <p:nvPr/>
          </p:nvSpPr>
          <p:spPr>
            <a:xfrm>
              <a:off x="194463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Programmer">
              <a:extLst>
                <a:ext uri="{FF2B5EF4-FFF2-40B4-BE49-F238E27FC236}">
                  <a16:creationId xmlns:a16="http://schemas.microsoft.com/office/drawing/2014/main" id="{123D23F6-D02A-A94F-23C7-0B02493091C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51209" y="3014327"/>
              <a:ext cx="681103" cy="681103"/>
            </a:xfrm>
            <a:prstGeom prst="rect">
              <a:avLst/>
            </a:prstGeom>
          </p:spPr>
        </p:pic>
      </p:grpSp>
      <p:cxnSp>
        <p:nvCxnSpPr>
          <p:cNvPr id="54" name="Straight Connector 53">
            <a:extLst>
              <a:ext uri="{FF2B5EF4-FFF2-40B4-BE49-F238E27FC236}">
                <a16:creationId xmlns:a16="http://schemas.microsoft.com/office/drawing/2014/main" id="{2D12D7E1-4D62-2F39-D627-82C9661C38C4}"/>
              </a:ext>
            </a:extLst>
          </p:cNvPr>
          <p:cNvCxnSpPr/>
          <p:nvPr/>
        </p:nvCxnSpPr>
        <p:spPr>
          <a:xfrm flipH="1">
            <a:off x="423463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6C310D1-92C4-CA64-C0F2-357739C50952}"/>
              </a:ext>
            </a:extLst>
          </p:cNvPr>
          <p:cNvCxnSpPr/>
          <p:nvPr/>
        </p:nvCxnSpPr>
        <p:spPr>
          <a:xfrm flipH="1">
            <a:off x="792037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a16="http://schemas.microsoft.com/office/drawing/2014/main" id="{5DF8A04A-C703-4B8F-9ABF-05B3831067DA}"/>
              </a:ext>
            </a:extLst>
          </p:cNvPr>
          <p:cNvSpPr/>
          <p:nvPr/>
        </p:nvSpPr>
        <p:spPr>
          <a:xfrm flipV="1">
            <a:off x="222073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a:extLst>
              <a:ext uri="{FF2B5EF4-FFF2-40B4-BE49-F238E27FC236}">
                <a16:creationId xmlns:a16="http://schemas.microsoft.com/office/drawing/2014/main" id="{986DE02A-A95D-2B9B-8D05-FA2F84757A45}"/>
              </a:ext>
            </a:extLst>
          </p:cNvPr>
          <p:cNvSpPr/>
          <p:nvPr/>
        </p:nvSpPr>
        <p:spPr>
          <a:xfrm flipV="1">
            <a:off x="592857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9F0EFDD4-6CD0-06A2-CD86-DE4000C3D584}"/>
              </a:ext>
            </a:extLst>
          </p:cNvPr>
          <p:cNvSpPr/>
          <p:nvPr/>
        </p:nvSpPr>
        <p:spPr>
          <a:xfrm flipV="1">
            <a:off x="9592216"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6EB2ED2-04C2-5536-79CB-9FDBEA957303}"/>
              </a:ext>
            </a:extLst>
          </p:cNvPr>
          <p:cNvSpPr txBox="1"/>
          <p:nvPr/>
        </p:nvSpPr>
        <p:spPr>
          <a:xfrm>
            <a:off x="556181" y="1970202"/>
            <a:ext cx="3675511" cy="4289196"/>
          </a:xfrm>
          <a:prstGeom prst="rect">
            <a:avLst/>
          </a:prstGeom>
          <a:noFill/>
          <a:ln w="28575">
            <a:solidFill>
              <a:srgbClr val="FFC000"/>
            </a:solidFill>
            <a:prstDash val="dash"/>
          </a:ln>
        </p:spPr>
        <p:txBody>
          <a:bodyPr wrap="square" rtlCol="0">
            <a:noAutofit/>
          </a:bodyPr>
          <a:lstStyle/>
          <a:p>
            <a:endParaRPr lang="en-US"/>
          </a:p>
        </p:txBody>
      </p:sp>
      <p:sp>
        <p:nvSpPr>
          <p:cNvPr id="36" name="Content Placeholder 2">
            <a:extLst>
              <a:ext uri="{FF2B5EF4-FFF2-40B4-BE49-F238E27FC236}">
                <a16:creationId xmlns:a16="http://schemas.microsoft.com/office/drawing/2014/main" id="{D06A3989-13CB-F886-9E2D-109DB0299AAC}"/>
              </a:ext>
            </a:extLst>
          </p:cNvPr>
          <p:cNvSpPr txBox="1"/>
          <p:nvPr/>
        </p:nvSpPr>
        <p:spPr>
          <a:xfrm>
            <a:off x="7991454"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tr-TR" sz="1800" b="0" i="0" strike="noStrike" cap="none" spc="0" baseline="0">
                <a:solidFill>
                  <a:srgbClr val="000000"/>
                </a:solidFill>
                <a:effectLst/>
                <a:latin typeface="Calibri"/>
                <a:ea typeface="Calibri"/>
                <a:cs typeface="Calibri"/>
              </a:rPr>
              <a:t>Kontrol, bir varlığın yüzde cinsinden sahipliğine bölünür.</a:t>
            </a:r>
            <a:br>
              <a:rPr sz="1800"/>
            </a:br>
            <a:r>
              <a:rPr lang="tr-TR" sz="1800" b="1" i="0" strike="noStrike" cap="none" spc="0" baseline="0">
                <a:solidFill>
                  <a:srgbClr val="0065E5"/>
                </a:solidFill>
                <a:effectLst/>
                <a:latin typeface="Calibri"/>
                <a:ea typeface="Calibri"/>
                <a:cs typeface="Calibri"/>
              </a:rPr>
              <a:t>Paylaşılan tesisler veya faaliyetler için kullanılır.</a:t>
            </a:r>
          </a:p>
        </p:txBody>
      </p:sp>
      <p:sp>
        <p:nvSpPr>
          <p:cNvPr id="37" name="Content Placeholder 2">
            <a:extLst>
              <a:ext uri="{FF2B5EF4-FFF2-40B4-BE49-F238E27FC236}">
                <a16:creationId xmlns:a16="http://schemas.microsoft.com/office/drawing/2014/main" id="{6B157976-4698-79F7-27B3-23792DA6B1FD}"/>
              </a:ext>
            </a:extLst>
          </p:cNvPr>
          <p:cNvSpPr txBox="1"/>
          <p:nvPr/>
        </p:nvSpPr>
        <p:spPr>
          <a:xfrm>
            <a:off x="4305713"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tr-TR" sz="1800" b="0" i="0" strike="noStrike" cap="none" spc="0" baseline="0">
                <a:solidFill>
                  <a:srgbClr val="000000"/>
                </a:solidFill>
                <a:effectLst/>
                <a:latin typeface="Calibri"/>
                <a:ea typeface="Calibri"/>
                <a:cs typeface="Calibri"/>
              </a:rPr>
              <a:t>Kontrol, finansı </a:t>
            </a:r>
            <a:br>
              <a:rPr sz="1800"/>
            </a:br>
            <a:r>
              <a:rPr lang="tr-TR" sz="1800" b="0" i="0" strike="noStrike" cap="none" spc="0" baseline="0">
                <a:solidFill>
                  <a:srgbClr val="000000"/>
                </a:solidFill>
                <a:effectLst/>
                <a:latin typeface="Calibri"/>
                <a:ea typeface="Calibri"/>
                <a:cs typeface="Calibri"/>
              </a:rPr>
              <a:t>(yasal/operasyonel kontrole karşı) temel alır.</a:t>
            </a:r>
            <a:br>
              <a:rPr sz="1800"/>
            </a:br>
            <a:r>
              <a:rPr lang="tr-TR" sz="1800" b="1" i="0" strike="noStrike" cap="none" spc="0" baseline="0">
                <a:solidFill>
                  <a:srgbClr val="0065E5"/>
                </a:solidFill>
                <a:effectLst/>
                <a:latin typeface="Calibri"/>
                <a:ea typeface="Calibri"/>
                <a:cs typeface="Calibri"/>
              </a:rPr>
              <a:t>Yalnızca petrol ve gaz gibi belirli endüstrilerde kullanılır.</a:t>
            </a:r>
          </a:p>
        </p:txBody>
      </p:sp>
      <p:sp>
        <p:nvSpPr>
          <p:cNvPr id="38" name="Content Placeholder 2">
            <a:extLst>
              <a:ext uri="{FF2B5EF4-FFF2-40B4-BE49-F238E27FC236}">
                <a16:creationId xmlns:a16="http://schemas.microsoft.com/office/drawing/2014/main" id="{643B7621-5E44-A0F1-DDA8-FDB05147357F}"/>
              </a:ext>
            </a:extLst>
          </p:cNvPr>
          <p:cNvSpPr txBox="1"/>
          <p:nvPr/>
        </p:nvSpPr>
        <p:spPr>
          <a:xfrm>
            <a:off x="619973"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ctr" defTabSz="685800" eaLnBrk="1" fontAlgn="auto" latinLnBrk="0" hangingPunct="1">
              <a:lnSpc>
                <a:spcPct val="100000"/>
              </a:lnSpc>
              <a:spcBef>
                <a:spcPts val="200"/>
              </a:spcBef>
              <a:spcAft>
                <a:spcPts val="200"/>
              </a:spcAft>
              <a:buClrTx/>
              <a:buSzTx/>
              <a:buFont typeface="Arial" panose="020B0604020202020204" pitchFamily="34" charset="0"/>
              <a:buNone/>
              <a:defRPr/>
            </a:pPr>
            <a:r>
              <a:rPr lang="tr-TR" sz="1800" b="0" i="0" strike="noStrike" cap="none" spc="0" baseline="0">
                <a:solidFill>
                  <a:srgbClr val="000000"/>
                </a:solidFill>
                <a:effectLst/>
                <a:latin typeface="Calibri"/>
                <a:ea typeface="Calibri"/>
                <a:cs typeface="Calibri"/>
              </a:rPr>
              <a:t>Bir kuruluşun bir varlığın operasyonlarını kontrol etmesi durumunda.</a:t>
            </a:r>
            <a:br>
              <a:rPr sz="1800"/>
            </a:br>
            <a:r>
              <a:rPr lang="tr-TR" sz="1800" b="1" i="0" strike="noStrike" cap="none" spc="0" baseline="0">
                <a:solidFill>
                  <a:srgbClr val="0065E5"/>
                </a:solidFill>
                <a:effectLst/>
                <a:latin typeface="Calibri"/>
                <a:ea typeface="Calibri"/>
                <a:cs typeface="Calibri"/>
              </a:rPr>
              <a:t>Bu, en </a:t>
            </a:r>
            <a:r>
              <a:rPr lang="tr-TR" sz="1800" b="1" i="0" u="sng" strike="noStrike" cap="none" spc="0" baseline="0">
                <a:solidFill>
                  <a:srgbClr val="0065E5"/>
                </a:solidFill>
                <a:effectLst/>
                <a:uFill>
                  <a:solidFill>
                    <a:srgbClr val="0065E5"/>
                  </a:solidFill>
                </a:uFill>
                <a:latin typeface="Calibri"/>
                <a:ea typeface="Calibri"/>
                <a:cs typeface="Calibri"/>
              </a:rPr>
              <a:t>yaygın </a:t>
            </a:r>
            <a:r>
              <a:rPr lang="tr-TR" sz="1800" b="1" i="0" strike="noStrike" cap="none" spc="0" baseline="0">
                <a:solidFill>
                  <a:srgbClr val="0065E5"/>
                </a:solidFill>
                <a:effectLst/>
                <a:latin typeface="Calibri"/>
                <a:ea typeface="Calibri"/>
                <a:cs typeface="Calibri"/>
              </a:rPr>
              <a:t>ve önerilen yaklaşımdır.</a:t>
            </a:r>
          </a:p>
        </p:txBody>
      </p:sp>
      <p:sp>
        <p:nvSpPr>
          <p:cNvPr id="48" name="TextBox 47">
            <a:extLst>
              <a:ext uri="{FF2B5EF4-FFF2-40B4-BE49-F238E27FC236}">
                <a16:creationId xmlns:a16="http://schemas.microsoft.com/office/drawing/2014/main" id="{C0D87ADD-3965-9FC9-30C6-1157AD0E8FCB}"/>
              </a:ext>
            </a:extLst>
          </p:cNvPr>
          <p:cNvSpPr txBox="1"/>
          <p:nvPr/>
        </p:nvSpPr>
        <p:spPr>
          <a:xfrm>
            <a:off x="608806" y="6404716"/>
            <a:ext cx="10952146" cy="152400"/>
          </a:xfrm>
          <a:prstGeom prst="rect">
            <a:avLst/>
          </a:prstGeom>
          <a:noFill/>
        </p:spPr>
        <p:txBody>
          <a:bodyPr wrap="square" lIns="0" tIns="0" rIns="0" bIns="0" rtlCol="0" anchor="b">
            <a:spAutoFit/>
          </a:bodyPr>
          <a:lstStyle/>
          <a:p>
            <a:r>
              <a:rPr lang="tr-TR" sz="1000" b="0" i="0" strike="noStrike" cap="none" spc="0" baseline="0">
                <a:solidFill>
                  <a:srgbClr val="000000"/>
                </a:solidFill>
                <a:effectLst/>
                <a:latin typeface="Calibri"/>
                <a:ea typeface="Calibri"/>
                <a:cs typeface="Calibri"/>
              </a:rPr>
              <a:t>Bkz. </a:t>
            </a:r>
            <a:r>
              <a:rPr lang="tr-TR" sz="1000" b="0" i="0" strike="noStrike" cap="none" spc="0" baseline="0">
                <a:solidFill>
                  <a:srgbClr val="0065E5"/>
                </a:solidFill>
                <a:effectLst/>
                <a:latin typeface="Calibri"/>
                <a:ea typeface="Calibri"/>
                <a:cs typeface="Calibri"/>
                <a:hlinkClick r:id="rId13" history="0"/>
              </a:rPr>
              <a:t>Sera Gazı Protokolü Kurumsal Standardı</a:t>
            </a:r>
            <a:r>
              <a:rPr lang="tr-TR" sz="1000" b="0" i="0" strike="noStrike" cap="none" spc="0" baseline="0">
                <a:solidFill>
                  <a:srgbClr val="0065E5"/>
                </a:solidFill>
                <a:effectLst/>
                <a:latin typeface="Calibri"/>
                <a:ea typeface="Calibri"/>
                <a:cs typeface="Calibri"/>
              </a:rPr>
              <a:t>, Bölüm</a:t>
            </a:r>
            <a:r>
              <a:rPr lang="tr-TR" sz="1000" b="0" i="0" strike="noStrike" cap="none" spc="0" baseline="0">
                <a:solidFill>
                  <a:srgbClr val="000000"/>
                </a:solidFill>
                <a:effectLst/>
                <a:latin typeface="Calibri"/>
                <a:ea typeface="Calibri"/>
                <a:cs typeface="Calibri"/>
              </a:rPr>
              <a:t> 3. Ek ayrıntılar için Kurumsal Sınırların Belirlenmesi.</a:t>
            </a:r>
          </a:p>
        </p:txBody>
      </p:sp>
    </p:spTree>
    <p:extLst>
      <p:ext uri="{BB962C8B-B14F-4D97-AF65-F5344CB8AC3E}">
        <p14:creationId xmlns:p14="http://schemas.microsoft.com/office/powerpoint/2010/main" val="193077255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34453279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5" name="Trapezoid 54">
            <a:extLst>
              <a:ext uri="{FF2B5EF4-FFF2-40B4-BE49-F238E27FC236}">
                <a16:creationId xmlns:a16="http://schemas.microsoft.com/office/drawing/2014/main" id="{6BA6880B-FCC8-6EDD-0AF9-EFF545495F14}"/>
              </a:ext>
            </a:extLst>
          </p:cNvPr>
          <p:cNvSpPr/>
          <p:nvPr/>
        </p:nvSpPr>
        <p:spPr>
          <a:xfrm rot="5400000" flipH="1">
            <a:off x="11341044" y="2764143"/>
            <a:ext cx="577101" cy="65815"/>
          </a:xfrm>
          <a:prstGeom prst="trapezoid">
            <a:avLst>
              <a:gd name="adj" fmla="val 55312"/>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c) Hesaplama metodolojisini anlama</a:t>
            </a:r>
          </a:p>
        </p:txBody>
      </p:sp>
      <p:sp>
        <p:nvSpPr>
          <p:cNvPr id="10" name="Rectangle 9">
            <a:extLst>
              <a:ext uri="{FF2B5EF4-FFF2-40B4-BE49-F238E27FC236}">
                <a16:creationId xmlns:a16="http://schemas.microsoft.com/office/drawing/2014/main" id="{BD87D031-570C-2124-5D7F-7F2EBE4A830C}"/>
              </a:ext>
            </a:extLst>
          </p:cNvPr>
          <p:cNvSpPr/>
          <p:nvPr/>
        </p:nvSpPr>
        <p:spPr>
          <a:xfrm>
            <a:off x="1212906" y="2476315"/>
            <a:ext cx="5117199"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extLst>
              <a:ext uri="{FF2B5EF4-FFF2-40B4-BE49-F238E27FC236}">
                <a16:creationId xmlns:a16="http://schemas.microsoft.com/office/drawing/2014/main" id="{FD3E404C-166B-41C2-B748-BD17B9BC28E6}"/>
              </a:ext>
            </a:extLst>
          </p:cNvPr>
          <p:cNvSpPr/>
          <p:nvPr/>
        </p:nvSpPr>
        <p:spPr>
          <a:xfrm>
            <a:off x="6457789" y="2476315"/>
            <a:ext cx="5131703"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Trapezoid 45">
            <a:extLst>
              <a:ext uri="{FF2B5EF4-FFF2-40B4-BE49-F238E27FC236}">
                <a16:creationId xmlns:a16="http://schemas.microsoft.com/office/drawing/2014/main" id="{33020DA4-9558-8F72-510D-2B6E8CF2A25A}"/>
              </a:ext>
            </a:extLst>
          </p:cNvPr>
          <p:cNvSpPr/>
          <p:nvPr/>
        </p:nvSpPr>
        <p:spPr>
          <a:xfrm rot="16200000">
            <a:off x="884954" y="2765362"/>
            <a:ext cx="577101" cy="66187"/>
          </a:xfrm>
          <a:prstGeom prst="trapezoid">
            <a:avLst>
              <a:gd name="adj" fmla="val 61837"/>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Arrow: Up 53">
            <a:extLst>
              <a:ext uri="{FF2B5EF4-FFF2-40B4-BE49-F238E27FC236}">
                <a16:creationId xmlns:a16="http://schemas.microsoft.com/office/drawing/2014/main" id="{4BD6C064-CCC7-59E6-D2C4-792949FDE1DE}"/>
              </a:ext>
            </a:extLst>
          </p:cNvPr>
          <p:cNvSpPr/>
          <p:nvPr/>
        </p:nvSpPr>
        <p:spPr>
          <a:xfrm>
            <a:off x="609231" y="3467100"/>
            <a:ext cx="544375" cy="2933700"/>
          </a:xfrm>
          <a:prstGeom prst="upArrow">
            <a:avLst>
              <a:gd name="adj1" fmla="val 63998"/>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Calibri"/>
                <a:ea typeface="Calibri"/>
                <a:cs typeface="Calibri"/>
              </a:rPr>
              <a:t>Tercih</a:t>
            </a:r>
          </a:p>
        </p:txBody>
      </p:sp>
      <p:sp>
        <p:nvSpPr>
          <p:cNvPr id="65" name="Rectangle 64">
            <a:extLst>
              <a:ext uri="{FF2B5EF4-FFF2-40B4-BE49-F238E27FC236}">
                <a16:creationId xmlns:a16="http://schemas.microsoft.com/office/drawing/2014/main" id="{406D5A2D-D98A-3920-BB90-B3EB1B9CC622}"/>
              </a:ext>
            </a:extLst>
          </p:cNvPr>
          <p:cNvSpPr/>
          <p:nvPr/>
        </p:nvSpPr>
        <p:spPr>
          <a:xfrm>
            <a:off x="4876939"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tr-TR" sz="1800" b="1" i="0" strike="noStrike" cap="none" spc="0" baseline="0">
                <a:solidFill>
                  <a:srgbClr val="FFFFFF"/>
                </a:solidFill>
                <a:effectLst/>
                <a:latin typeface="Calibri"/>
                <a:ea typeface="Calibri"/>
                <a:cs typeface="Calibri"/>
              </a:rPr>
              <a:t>Aktivite</a:t>
            </a:r>
          </a:p>
          <a:p>
            <a:pPr lvl="0" algn="ctr" defTabSz="609585">
              <a:spcAft>
                <a:spcPts val="300"/>
              </a:spcAft>
              <a:defRPr/>
            </a:pPr>
            <a:r>
              <a:rPr lang="tr-TR" sz="1800" b="0" i="0" strike="noStrike" cap="none" spc="0" baseline="0">
                <a:solidFill>
                  <a:srgbClr val="FFFFFF"/>
                </a:solidFill>
                <a:effectLst/>
                <a:latin typeface="Calibri"/>
                <a:ea typeface="Calibri"/>
                <a:cs typeface="Calibri"/>
              </a:rPr>
              <a:t>ör. kWh</a:t>
            </a:r>
            <a:endParaRPr lang="en-US" baseline="30000">
              <a:solidFill>
                <a:schemeClr val="bg1"/>
              </a:solidFill>
              <a:ea typeface="Consolas" panose="020B0609020204030204" pitchFamily="49" charset="0"/>
              <a:cs typeface="Consolas" panose="020B0609020204030204" pitchFamily="49" charset="0"/>
            </a:endParaRPr>
          </a:p>
        </p:txBody>
      </p:sp>
      <p:sp>
        <p:nvSpPr>
          <p:cNvPr id="66" name="Rectangle 65">
            <a:extLst>
              <a:ext uri="{FF2B5EF4-FFF2-40B4-BE49-F238E27FC236}">
                <a16:creationId xmlns:a16="http://schemas.microsoft.com/office/drawing/2014/main" id="{D0311565-B6F7-764C-59BE-34D0071A20DB}"/>
              </a:ext>
            </a:extLst>
          </p:cNvPr>
          <p:cNvSpPr/>
          <p:nvPr/>
        </p:nvSpPr>
        <p:spPr>
          <a:xfrm>
            <a:off x="8540971"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tr-TR" sz="1800" b="1" i="0" strike="noStrike" cap="none" spc="0" baseline="0">
                <a:solidFill>
                  <a:srgbClr val="FFFFFF"/>
                </a:solidFill>
                <a:effectLst/>
                <a:latin typeface="Calibri"/>
                <a:ea typeface="Calibri"/>
                <a:cs typeface="Calibri"/>
              </a:rPr>
              <a:t>Emisyon faktörü</a:t>
            </a:r>
          </a:p>
          <a:p>
            <a:pPr lvl="0" algn="ctr" defTabSz="609585">
              <a:spcAft>
                <a:spcPts val="300"/>
              </a:spcAft>
              <a:defRPr/>
            </a:pPr>
            <a:r>
              <a:rPr lang="tr-TR" sz="1800" b="0" i="0" strike="noStrike" cap="none" spc="0" baseline="0">
                <a:solidFill>
                  <a:srgbClr val="FFFFFF"/>
                </a:solidFill>
                <a:effectLst/>
                <a:latin typeface="Calibri"/>
                <a:ea typeface="Calibri"/>
                <a:cs typeface="Calibri"/>
              </a:rPr>
              <a:t>ör. kgCO</a:t>
            </a:r>
            <a:r>
              <a:rPr lang="tr-TR" sz="1800" b="0" i="0" strike="noStrike" cap="none" spc="0" baseline="-25000">
                <a:solidFill>
                  <a:srgbClr val="FFFFFF"/>
                </a:solidFill>
                <a:effectLst/>
                <a:latin typeface="Calibri"/>
                <a:ea typeface="Calibri"/>
                <a:cs typeface="Calibri"/>
              </a:rPr>
              <a:t>2</a:t>
            </a:r>
            <a:r>
              <a:rPr lang="tr-TR" sz="1800" b="0" i="0" strike="noStrike" cap="none" spc="0" baseline="0">
                <a:solidFill>
                  <a:srgbClr val="FFFFFF"/>
                </a:solidFill>
                <a:effectLst/>
                <a:latin typeface="Calibri"/>
                <a:ea typeface="Calibri"/>
                <a:cs typeface="Calibri"/>
              </a:rPr>
              <a:t>e/kWh</a:t>
            </a:r>
            <a:endParaRPr lang="en-US" baseline="30000">
              <a:solidFill>
                <a:schemeClr val="bg1"/>
              </a:solidFill>
              <a:ea typeface="Consolas" panose="020B0609020204030204" pitchFamily="49" charset="0"/>
              <a:cs typeface="Consolas" panose="020B0609020204030204" pitchFamily="49" charset="0"/>
            </a:endParaRPr>
          </a:p>
        </p:txBody>
      </p:sp>
      <p:sp>
        <p:nvSpPr>
          <p:cNvPr id="67" name="Rectangle 66">
            <a:extLst>
              <a:ext uri="{FF2B5EF4-FFF2-40B4-BE49-F238E27FC236}">
                <a16:creationId xmlns:a16="http://schemas.microsoft.com/office/drawing/2014/main" id="{8DCD5BBC-E0C3-C2EE-4B7A-61F312B22C04}"/>
              </a:ext>
            </a:extLst>
          </p:cNvPr>
          <p:cNvSpPr/>
          <p:nvPr/>
        </p:nvSpPr>
        <p:spPr>
          <a:xfrm>
            <a:off x="1212906"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tr-TR" sz="1800" b="1" i="0" strike="noStrike" cap="none" spc="0" baseline="0">
                <a:solidFill>
                  <a:srgbClr val="FFFFFF"/>
                </a:solidFill>
                <a:effectLst/>
                <a:latin typeface="Calibri"/>
                <a:ea typeface="Calibri"/>
                <a:cs typeface="Calibri"/>
              </a:rPr>
              <a:t>Sera Gazı</a:t>
            </a:r>
          </a:p>
          <a:p>
            <a:pPr lvl="0" algn="ctr" defTabSz="1219170">
              <a:spcAft>
                <a:spcPts val="300"/>
              </a:spcAft>
              <a:defRPr/>
            </a:pPr>
            <a:r>
              <a:rPr lang="tr-TR" sz="1800" b="0" i="0" strike="noStrike" cap="none" spc="0" baseline="0">
                <a:solidFill>
                  <a:srgbClr val="FFFFFF"/>
                </a:solidFill>
                <a:effectLst/>
                <a:latin typeface="Calibri"/>
                <a:ea typeface="Calibri"/>
                <a:cs typeface="Calibri"/>
              </a:rPr>
              <a:t>kgCO</a:t>
            </a:r>
            <a:r>
              <a:rPr lang="tr-TR" sz="1800" b="0" i="0" strike="noStrike" cap="none" spc="0" baseline="-25000">
                <a:solidFill>
                  <a:srgbClr val="FFFFFF"/>
                </a:solidFill>
                <a:effectLst/>
                <a:latin typeface="Calibri"/>
                <a:ea typeface="Calibri"/>
                <a:cs typeface="Calibri"/>
              </a:rPr>
              <a:t>2</a:t>
            </a:r>
            <a:r>
              <a:rPr lang="tr-TR" sz="1800" b="0" i="0" strike="noStrike" cap="none" spc="0" baseline="0">
                <a:solidFill>
                  <a:srgbClr val="FFFFFF"/>
                </a:solidFill>
                <a:effectLst/>
                <a:latin typeface="Calibri"/>
                <a:ea typeface="Calibri"/>
                <a:cs typeface="Calibri"/>
              </a:rPr>
              <a:t>e</a:t>
            </a:r>
          </a:p>
        </p:txBody>
      </p:sp>
      <p:sp>
        <p:nvSpPr>
          <p:cNvPr id="73" name="Oval 72">
            <a:extLst>
              <a:ext uri="{FF2B5EF4-FFF2-40B4-BE49-F238E27FC236}">
                <a16:creationId xmlns:a16="http://schemas.microsoft.com/office/drawing/2014/main" id="{8514AE9D-AE86-F123-FB5E-6275FF28CA13}"/>
              </a:ext>
            </a:extLst>
          </p:cNvPr>
          <p:cNvSpPr/>
          <p:nvPr/>
        </p:nvSpPr>
        <p:spPr>
          <a:xfrm>
            <a:off x="4096644" y="1114425"/>
            <a:ext cx="945078" cy="9450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75" name="Oval 74">
            <a:extLst>
              <a:ext uri="{FF2B5EF4-FFF2-40B4-BE49-F238E27FC236}">
                <a16:creationId xmlns:a16="http://schemas.microsoft.com/office/drawing/2014/main" id="{AD2D3EA1-2A1F-568A-325F-F4D11D57C65F}"/>
              </a:ext>
            </a:extLst>
          </p:cNvPr>
          <p:cNvSpPr/>
          <p:nvPr/>
        </p:nvSpPr>
        <p:spPr>
          <a:xfrm>
            <a:off x="4201419" y="1219200"/>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a:solidFill>
                  <a:schemeClr val="bg1"/>
                </a:solidFill>
              </a:rPr>
              <a:t>=</a:t>
            </a:r>
            <a:endParaRPr lang="en-US" sz="3600" b="1">
              <a:solidFill>
                <a:schemeClr val="bg1"/>
              </a:solidFill>
            </a:endParaRPr>
          </a:p>
        </p:txBody>
      </p:sp>
      <p:sp>
        <p:nvSpPr>
          <p:cNvPr id="70" name="Oval 69">
            <a:extLst>
              <a:ext uri="{FF2B5EF4-FFF2-40B4-BE49-F238E27FC236}">
                <a16:creationId xmlns:a16="http://schemas.microsoft.com/office/drawing/2014/main" id="{55A0711F-1366-0BD0-8229-0347B8B1CF53}"/>
              </a:ext>
            </a:extLst>
          </p:cNvPr>
          <p:cNvSpPr/>
          <p:nvPr/>
        </p:nvSpPr>
        <p:spPr>
          <a:xfrm>
            <a:off x="7760677" y="1114425"/>
            <a:ext cx="945078" cy="9450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72" name="Oval 71">
            <a:extLst>
              <a:ext uri="{FF2B5EF4-FFF2-40B4-BE49-F238E27FC236}">
                <a16:creationId xmlns:a16="http://schemas.microsoft.com/office/drawing/2014/main" id="{1E92EB8F-5FF8-D19E-B67C-4EFD22CC2349}"/>
              </a:ext>
            </a:extLst>
          </p:cNvPr>
          <p:cNvSpPr/>
          <p:nvPr/>
        </p:nvSpPr>
        <p:spPr>
          <a:xfrm>
            <a:off x="7865452" y="1219200"/>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tr-TR" sz="4000" b="1" i="0" strike="noStrike" cap="none" spc="0" baseline="0">
                <a:solidFill>
                  <a:srgbClr val="FFFFFF"/>
                </a:solidFill>
                <a:effectLst/>
                <a:latin typeface="Calibri"/>
                <a:ea typeface="Calibri"/>
                <a:cs typeface="Calibri"/>
              </a:rPr>
              <a:t>X</a:t>
            </a:r>
          </a:p>
        </p:txBody>
      </p:sp>
      <p:graphicFrame>
        <p:nvGraphicFramePr>
          <p:cNvPr id="27" name="Table 3">
            <a:extLst>
              <a:ext uri="{FF2B5EF4-FFF2-40B4-BE49-F238E27FC236}">
                <a16:creationId xmlns:a16="http://schemas.microsoft.com/office/drawing/2014/main" id="{91605179-AA7C-468D-87B2-1E798A867BF6}"/>
              </a:ext>
            </a:extLst>
          </p:cNvPr>
          <p:cNvGraphicFramePr>
            <a:graphicFrameLocks noGrp="1"/>
          </p:cNvGraphicFramePr>
          <p:nvPr>
            <p:extLst>
              <p:ext uri="{D42A27DB-BD31-4B8C-83A1-F6EECF244321}">
                <p14:modId xmlns:p14="http://schemas.microsoft.com/office/powerpoint/2010/main" val="440149546"/>
              </p:ext>
            </p:extLst>
          </p:nvPr>
        </p:nvGraphicFramePr>
        <p:xfrm>
          <a:off x="1219214" y="3116991"/>
          <a:ext cx="5118320" cy="3283809"/>
        </p:xfrm>
        <a:graphic>
          <a:graphicData uri="http://schemas.openxmlformats.org/drawingml/2006/table">
            <a:tbl>
              <a:tblPr firstRow="1"/>
              <a:tblGrid>
                <a:gridCol w="1112818">
                  <a:extLst>
                    <a:ext uri="{9D8B030D-6E8A-4147-A177-3AD203B41FA5}">
                      <a16:colId xmlns:a16="http://schemas.microsoft.com/office/drawing/2014/main" val="562240473"/>
                    </a:ext>
                  </a:extLst>
                </a:gridCol>
                <a:gridCol w="2002751">
                  <a:extLst>
                    <a:ext uri="{9D8B030D-6E8A-4147-A177-3AD203B41FA5}">
                      <a16:colId xmlns:a16="http://schemas.microsoft.com/office/drawing/2014/main" val="2825130798"/>
                    </a:ext>
                  </a:extLst>
                </a:gridCol>
                <a:gridCol w="2002751">
                  <a:extLst>
                    <a:ext uri="{9D8B030D-6E8A-4147-A177-3AD203B41FA5}">
                      <a16:colId xmlns:a16="http://schemas.microsoft.com/office/drawing/2014/main" val="181142943"/>
                    </a:ext>
                  </a:extLst>
                </a:gridCol>
              </a:tblGrid>
              <a:tr h="363075">
                <a:tc>
                  <a:txBody>
                    <a:bodyPr/>
                    <a:lstStyle/>
                    <a:p>
                      <a:pPr algn="ctr"/>
                      <a:r>
                        <a:rPr lang="tr-TR" sz="1400" b="1" i="0" strike="noStrike" cap="none" spc="0" baseline="0">
                          <a:solidFill>
                            <a:srgbClr val="000000"/>
                          </a:solidFill>
                          <a:effectLst/>
                          <a:latin typeface="Calibri"/>
                          <a:ea typeface="Calibri"/>
                          <a:cs typeface="Calibri"/>
                        </a:rPr>
                        <a:t>Tür</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tr-TR" sz="1400" b="1" i="0" strike="noStrike" cap="none" spc="0" baseline="0">
                          <a:solidFill>
                            <a:srgbClr val="000000"/>
                          </a:solidFill>
                          <a:effectLst/>
                          <a:latin typeface="Calibri"/>
                          <a:ea typeface="Calibri"/>
                          <a:cs typeface="Calibri"/>
                        </a:rPr>
                        <a:t>Açıklama</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tr-TR" sz="1400" b="1" i="0" strike="noStrike" cap="none" spc="0" baseline="0">
                          <a:solidFill>
                            <a:srgbClr val="000000"/>
                          </a:solidFill>
                          <a:effectLst/>
                          <a:latin typeface="Calibri"/>
                          <a:ea typeface="Calibri"/>
                          <a:cs typeface="Calibri"/>
                        </a:rPr>
                        <a:t>Örnek</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367">
                <a:tc>
                  <a:txBody>
                    <a:bodyPr/>
                    <a:lstStyle/>
                    <a:p>
                      <a:r>
                        <a:rPr lang="tr-TR" sz="1400" b="1" i="0" strike="noStrike" cap="none" spc="0" baseline="0">
                          <a:solidFill>
                            <a:srgbClr val="000000"/>
                          </a:solidFill>
                          <a:effectLst/>
                          <a:latin typeface="Calibri"/>
                          <a:ea typeface="Calibri"/>
                          <a:cs typeface="Calibri"/>
                        </a:rPr>
                        <a:t>Birincil</a:t>
                      </a:r>
                    </a:p>
                  </a:txBody>
                  <a:tcPr>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tr-TR" sz="1400" b="0" i="0" strike="noStrike" cap="none" spc="0" baseline="0">
                          <a:solidFill>
                            <a:srgbClr val="000000"/>
                          </a:solidFill>
                          <a:effectLst/>
                          <a:latin typeface="Calibri"/>
                          <a:ea typeface="Calibri"/>
                          <a:cs typeface="Calibri"/>
                        </a:rPr>
                        <a:t>Doğrudan sera gazı hesaplama formülünü besleyen, emisyon üreten bir faaliyetten elde edilen veriler</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1400" b="0" i="0" strike="noStrike" cap="none" spc="0" baseline="0">
                          <a:solidFill>
                            <a:srgbClr val="000000"/>
                          </a:solidFill>
                          <a:effectLst/>
                          <a:latin typeface="Calibri"/>
                          <a:ea typeface="Calibri"/>
                          <a:cs typeface="Calibri"/>
                        </a:rPr>
                        <a:t>Bir tesisin aylık elektrik faturalarına göre kullandığı kWh </a:t>
                      </a:r>
                    </a:p>
                  </a:txBody>
                  <a:tcPr>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367">
                <a:tc>
                  <a:txBody>
                    <a:bodyPr/>
                    <a:lstStyle/>
                    <a:p>
                      <a:r>
                        <a:rPr lang="tr-TR" sz="1400" b="1" i="0" strike="noStrike" cap="none" spc="0" baseline="0">
                          <a:solidFill>
                            <a:srgbClr val="000000"/>
                          </a:solidFill>
                          <a:effectLst/>
                          <a:latin typeface="Calibri"/>
                          <a:ea typeface="Calibri"/>
                          <a:cs typeface="Calibri"/>
                        </a:rPr>
                        <a:t>İkincil</a:t>
                      </a:r>
                    </a:p>
                  </a:txBody>
                  <a:tcPr>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tr-TR" sz="1400" b="0" i="0" strike="noStrike" cap="none" spc="0" baseline="0">
                          <a:solidFill>
                            <a:srgbClr val="000000"/>
                          </a:solidFill>
                          <a:effectLst/>
                          <a:latin typeface="Calibri"/>
                          <a:ea typeface="Calibri"/>
                          <a:cs typeface="Calibri"/>
                        </a:rPr>
                        <a:t>Çoğunlukla ek manipülasyon gerektiren, temsili kaynaklardan veya ulusal ortalamalardan alınan veriler</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1400" b="0" i="0" strike="noStrike" cap="none" spc="0" baseline="0">
                          <a:solidFill>
                            <a:srgbClr val="000000"/>
                          </a:solidFill>
                          <a:effectLst/>
                          <a:latin typeface="Calibri"/>
                          <a:ea typeface="Calibri"/>
                          <a:cs typeface="Calibri"/>
                        </a:rPr>
                        <a:t>Kaplanan metrekare ve bina tipine göre bir tesisin kullandığı kWh'nin tahmin edilmesi </a:t>
                      </a:r>
                    </a:p>
                  </a:txBody>
                  <a:tcPr>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graphicFrame>
        <p:nvGraphicFramePr>
          <p:cNvPr id="19" name="Table 3">
            <a:extLst>
              <a:ext uri="{FF2B5EF4-FFF2-40B4-BE49-F238E27FC236}">
                <a16:creationId xmlns:a16="http://schemas.microsoft.com/office/drawing/2014/main" id="{F152956E-0260-4C8A-A637-7DA835AA165B}"/>
              </a:ext>
            </a:extLst>
          </p:cNvPr>
          <p:cNvGraphicFramePr>
            <a:graphicFrameLocks noGrp="1"/>
          </p:cNvGraphicFramePr>
          <p:nvPr>
            <p:extLst>
              <p:ext uri="{D42A27DB-BD31-4B8C-83A1-F6EECF244321}">
                <p14:modId xmlns:p14="http://schemas.microsoft.com/office/powerpoint/2010/main" val="3959490422"/>
              </p:ext>
            </p:extLst>
          </p:nvPr>
        </p:nvGraphicFramePr>
        <p:xfrm>
          <a:off x="6465127" y="3116992"/>
          <a:ext cx="5124365" cy="3283809"/>
        </p:xfrm>
        <a:graphic>
          <a:graphicData uri="http://schemas.openxmlformats.org/drawingml/2006/table">
            <a:tbl>
              <a:tblPr firstRow="1"/>
              <a:tblGrid>
                <a:gridCol w="1114133">
                  <a:extLst>
                    <a:ext uri="{9D8B030D-6E8A-4147-A177-3AD203B41FA5}">
                      <a16:colId xmlns:a16="http://schemas.microsoft.com/office/drawing/2014/main" val="562240473"/>
                    </a:ext>
                  </a:extLst>
                </a:gridCol>
                <a:gridCol w="2005116">
                  <a:extLst>
                    <a:ext uri="{9D8B030D-6E8A-4147-A177-3AD203B41FA5}">
                      <a16:colId xmlns:a16="http://schemas.microsoft.com/office/drawing/2014/main" val="2825130798"/>
                    </a:ext>
                  </a:extLst>
                </a:gridCol>
                <a:gridCol w="2005116">
                  <a:extLst>
                    <a:ext uri="{9D8B030D-6E8A-4147-A177-3AD203B41FA5}">
                      <a16:colId xmlns:a16="http://schemas.microsoft.com/office/drawing/2014/main" val="181142943"/>
                    </a:ext>
                  </a:extLst>
                </a:gridCol>
              </a:tblGrid>
              <a:tr h="362773">
                <a:tc>
                  <a:txBody>
                    <a:bodyPr/>
                    <a:lstStyle/>
                    <a:p>
                      <a:pPr algn="ctr"/>
                      <a:r>
                        <a:rPr lang="tr-TR" sz="1400" b="1" i="0" strike="noStrike" cap="none" spc="0" baseline="0">
                          <a:solidFill>
                            <a:srgbClr val="000000"/>
                          </a:solidFill>
                          <a:effectLst/>
                          <a:latin typeface="Calibri"/>
                          <a:ea typeface="Calibri"/>
                          <a:cs typeface="Calibri"/>
                        </a:rPr>
                        <a:t>Tür</a:t>
                      </a:r>
                    </a:p>
                  </a:txBody>
                  <a:tcPr marL="68580" marR="68580" marT="34290" marB="3429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tr-TR" sz="1400" b="1" i="0" strike="noStrike" cap="none" spc="0" baseline="0">
                          <a:solidFill>
                            <a:srgbClr val="000000"/>
                          </a:solidFill>
                          <a:effectLst/>
                          <a:latin typeface="Calibri"/>
                          <a:ea typeface="Calibri"/>
                          <a:cs typeface="Calibri"/>
                        </a:rPr>
                        <a:t>Açıklama</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a:r>
                        <a:rPr lang="tr-TR" sz="1400" b="1" i="0" strike="noStrike" cap="none" spc="0" baseline="0">
                          <a:solidFill>
                            <a:srgbClr val="000000"/>
                          </a:solidFill>
                          <a:effectLst/>
                          <a:latin typeface="Calibri"/>
                          <a:ea typeface="Calibri"/>
                          <a:cs typeface="Calibri"/>
                        </a:rPr>
                        <a:t>Örnek</a:t>
                      </a:r>
                    </a:p>
                  </a:txBody>
                  <a:tcPr marL="68580" marR="68580" marT="34290" marB="3429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518">
                <a:tc>
                  <a:txBody>
                    <a:bodyPr/>
                    <a:lstStyle/>
                    <a:p>
                      <a:r>
                        <a:rPr lang="tr-TR" sz="1400" b="1" i="0" strike="noStrike" cap="none" spc="0" baseline="0">
                          <a:solidFill>
                            <a:srgbClr val="000000"/>
                          </a:solidFill>
                          <a:effectLst/>
                          <a:latin typeface="Calibri"/>
                          <a:ea typeface="Calibri"/>
                          <a:cs typeface="Calibri"/>
                        </a:rPr>
                        <a:t>Birincil/</a:t>
                      </a:r>
                      <a:br>
                        <a:rPr sz="1400"/>
                      </a:br>
                      <a:r>
                        <a:rPr lang="tr-TR" sz="1400" b="1" i="0" strike="noStrike" cap="none" spc="0" baseline="0">
                          <a:solidFill>
                            <a:srgbClr val="000000"/>
                          </a:solidFill>
                          <a:effectLst/>
                          <a:latin typeface="Calibri"/>
                          <a:ea typeface="Calibri"/>
                          <a:cs typeface="Calibri"/>
                        </a:rPr>
                        <a:t>Özel</a:t>
                      </a:r>
                    </a:p>
                    <a:p>
                      <a:endParaRPr lang="en-US" sz="1400" b="1">
                        <a:solidFill>
                          <a:schemeClr val="tx1"/>
                        </a:solidFill>
                      </a:endParaRPr>
                    </a:p>
                  </a:txBody>
                  <a:tcPr marL="68580" marR="68580" marT="34290" marB="34290">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tr-TR" sz="1400" b="0" i="0" strike="noStrike" cap="none" spc="0" baseline="0">
                          <a:solidFill>
                            <a:srgbClr val="000000"/>
                          </a:solidFill>
                          <a:effectLst/>
                          <a:latin typeface="Calibri"/>
                          <a:ea typeface="Calibri"/>
                          <a:cs typeface="Calibri"/>
                        </a:rPr>
                        <a:t>Benzersiz bir faaliyete özgü olan ve konum, teknoloji veya diğer benzersiz girdiler gibi özellikleri dikkate alan faktörler</a:t>
                      </a: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1400" b="0" i="0" strike="noStrike" cap="none" spc="0" baseline="0">
                          <a:solidFill>
                            <a:srgbClr val="000000"/>
                          </a:solidFill>
                          <a:effectLst/>
                          <a:latin typeface="Calibri"/>
                          <a:ea typeface="Calibri"/>
                          <a:cs typeface="Calibri"/>
                        </a:rPr>
                        <a:t>Fabrikaya elektrik sağlayan yerel kamu hizmetleri kuruluşundan gelen</a:t>
                      </a:r>
                      <a:br>
                        <a:rPr sz="1400"/>
                      </a:br>
                      <a:r>
                        <a:rPr lang="tr-TR" sz="1400" b="0" i="0" strike="noStrike" cap="none" spc="0" baseline="0">
                          <a:solidFill>
                            <a:srgbClr val="000000"/>
                          </a:solidFill>
                          <a:effectLst/>
                          <a:latin typeface="Calibri"/>
                          <a:ea typeface="Calibri"/>
                          <a:cs typeface="Calibri"/>
                        </a:rPr>
                        <a:t>emisyon faktörü</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518">
                <a:tc>
                  <a:txBody>
                    <a:bodyPr/>
                    <a:lstStyle/>
                    <a:p>
                      <a:r>
                        <a:rPr lang="tr-TR" sz="1400" b="1" i="0" strike="noStrike" cap="none" spc="0" baseline="0">
                          <a:solidFill>
                            <a:srgbClr val="000000"/>
                          </a:solidFill>
                          <a:effectLst/>
                          <a:latin typeface="Calibri"/>
                          <a:ea typeface="Calibri"/>
                          <a:cs typeface="Calibri"/>
                        </a:rPr>
                        <a:t>İkincil/</a:t>
                      </a:r>
                      <a:br>
                        <a:rPr sz="1400"/>
                      </a:br>
                      <a:r>
                        <a:rPr lang="tr-TR" sz="1400" b="1" i="0" strike="noStrike" cap="none" spc="0" baseline="0">
                          <a:solidFill>
                            <a:srgbClr val="000000"/>
                          </a:solidFill>
                          <a:effectLst/>
                          <a:latin typeface="Calibri"/>
                          <a:ea typeface="Calibri"/>
                          <a:cs typeface="Calibri"/>
                        </a:rPr>
                        <a:t>Genel</a:t>
                      </a:r>
                    </a:p>
                  </a:txBody>
                  <a:tcPr marL="68580" marR="68580" marT="34290" marB="34290">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tr-TR" sz="1400" b="0" i="0" strike="noStrike" cap="none" spc="0" baseline="0">
                          <a:solidFill>
                            <a:srgbClr val="000000"/>
                          </a:solidFill>
                          <a:effectLst/>
                          <a:latin typeface="Calibri"/>
                          <a:ea typeface="Calibri"/>
                          <a:cs typeface="Calibri"/>
                        </a:rPr>
                        <a:t>Çoğunlukla ek manipülasyon gerektiren, temsili kaynaklardan veya ulusal ortalamalardan alınan veriler</a:t>
                      </a: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tr-TR" sz="1400" b="0" i="0" strike="noStrike" cap="none" spc="0" baseline="0">
                          <a:solidFill>
                            <a:srgbClr val="000000"/>
                          </a:solidFill>
                          <a:effectLst/>
                          <a:latin typeface="Calibri"/>
                          <a:ea typeface="Calibri"/>
                          <a:cs typeface="Calibri"/>
                        </a:rPr>
                        <a:t>EPA eGrid veri tabanından fabrikanın bulunduğu bölgenin elektriğinin emisyon faktörü</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cxnSp>
        <p:nvCxnSpPr>
          <p:cNvPr id="39" name="Straight Arrow Connector 38">
            <a:extLst>
              <a:ext uri="{FF2B5EF4-FFF2-40B4-BE49-F238E27FC236}">
                <a16:creationId xmlns:a16="http://schemas.microsoft.com/office/drawing/2014/main" id="{07ED776C-A8EF-6FF6-32F2-65E930EE0AD7}"/>
              </a:ext>
            </a:extLst>
          </p:cNvPr>
          <p:cNvCxnSpPr/>
          <p:nvPr/>
        </p:nvCxnSpPr>
        <p:spPr>
          <a:xfrm flipH="1" flipV="1">
            <a:off x="6004307"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cxnSp>
        <p:nvCxnSpPr>
          <p:cNvPr id="43" name="Straight Arrow Connector 42">
            <a:extLst>
              <a:ext uri="{FF2B5EF4-FFF2-40B4-BE49-F238E27FC236}">
                <a16:creationId xmlns:a16="http://schemas.microsoft.com/office/drawing/2014/main" id="{DA59A51C-CBA9-1A8D-9270-E388FC337BE0}"/>
              </a:ext>
            </a:extLst>
          </p:cNvPr>
          <p:cNvCxnSpPr/>
          <p:nvPr/>
        </p:nvCxnSpPr>
        <p:spPr>
          <a:xfrm flipH="1" flipV="1">
            <a:off x="11285880"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sp>
        <p:nvSpPr>
          <p:cNvPr id="45" name="Rectangle 44">
            <a:extLst>
              <a:ext uri="{FF2B5EF4-FFF2-40B4-BE49-F238E27FC236}">
                <a16:creationId xmlns:a16="http://schemas.microsoft.com/office/drawing/2014/main" id="{4EE9CB14-F138-9699-510E-47094153017B}"/>
              </a:ext>
            </a:extLst>
          </p:cNvPr>
          <p:cNvSpPr/>
          <p:nvPr/>
        </p:nvSpPr>
        <p:spPr>
          <a:xfrm>
            <a:off x="1140411" y="2552605"/>
            <a:ext cx="5197377" cy="491700"/>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800" b="1" i="0" strike="noStrike" cap="none" spc="0" baseline="0">
                <a:solidFill>
                  <a:srgbClr val="FFFFFF"/>
                </a:solidFill>
                <a:effectLst/>
                <a:latin typeface="Calibri"/>
                <a:ea typeface="Calibri"/>
                <a:cs typeface="Calibri"/>
              </a:rPr>
              <a:t>FAALİYET VERİLERİ</a:t>
            </a:r>
          </a:p>
        </p:txBody>
      </p:sp>
      <p:sp>
        <p:nvSpPr>
          <p:cNvPr id="50" name="Rectangle 49">
            <a:extLst>
              <a:ext uri="{FF2B5EF4-FFF2-40B4-BE49-F238E27FC236}">
                <a16:creationId xmlns:a16="http://schemas.microsoft.com/office/drawing/2014/main" id="{E091252C-C388-25C7-C5AE-FFED4C5E2930}"/>
              </a:ext>
            </a:extLst>
          </p:cNvPr>
          <p:cNvSpPr/>
          <p:nvPr/>
        </p:nvSpPr>
        <p:spPr>
          <a:xfrm flipH="1">
            <a:off x="6465127" y="2552604"/>
            <a:ext cx="5197376" cy="491701"/>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Calibri"/>
                <a:ea typeface="Calibri"/>
                <a:cs typeface="Calibri"/>
              </a:rPr>
              <a:t>EMİSYON FAKTÖRÜ</a:t>
            </a:r>
          </a:p>
        </p:txBody>
      </p:sp>
    </p:spTree>
    <p:extLst>
      <p:ext uri="{BB962C8B-B14F-4D97-AF65-F5344CB8AC3E}">
        <p14:creationId xmlns:p14="http://schemas.microsoft.com/office/powerpoint/2010/main" val="1443623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72"/>
                                        </p:tgtEl>
                                        <p:attrNameLst>
                                          <p:attrName>style.visibility</p:attrName>
                                        </p:attrNameLst>
                                      </p:cBhvr>
                                      <p:to>
                                        <p:strVal val="visible"/>
                                      </p:to>
                                    </p:set>
                                    <p:animEffect transition="in" filter="fade">
                                      <p:cBhvr>
                                        <p:cTn id="25" dur="500"/>
                                        <p:tgtEl>
                                          <p:spTgt spid="72"/>
                                        </p:tgtEl>
                                      </p:cBhvr>
                                    </p:animEffect>
                                  </p:childTnLst>
                                </p:cTn>
                              </p:par>
                            </p:childTnLst>
                          </p:cTn>
                        </p:par>
                      </p:childTnLst>
                    </p:cTn>
                  </p:par>
                  <p:par>
                    <p:cTn id="26" fill="hold" nodeType="clickPar">
                      <p:stCondLst>
                        <p:cond delay="indefinite"/>
                      </p:stCondLst>
                      <p:childTnLst>
                        <p:par>
                          <p:cTn id="27" fill="hold">
                            <p:stCondLst>
                              <p:cond delay="0"/>
                            </p:stCondLst>
                            <p:childTnLst>
                              <p:par>
                                <p:cTn id="28" presetID="22" presetClass="entr" presetSubtype="1" fill="hold" nodeType="click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wipe(up)">
                                      <p:cBhvr>
                                        <p:cTn id="30" dur="500"/>
                                        <p:tgtEl>
                                          <p:spTgt spid="3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500"/>
                                        <p:tgtEl>
                                          <p:spTgt spid="46"/>
                                        </p:tgtEl>
                                      </p:cBhvr>
                                    </p:animEffect>
                                  </p:childTnLst>
                                </p:cTn>
                              </p:par>
                              <p:par>
                                <p:cTn id="37" presetID="10" presetClass="entr" presetSubtype="0" fill="hold" nodeType="withEffect">
                                  <p:stCondLst>
                                    <p:cond delay="0"/>
                                  </p:stCondLst>
                                  <p:childTnLst>
                                    <p:set>
                                      <p:cBhvr>
                                        <p:cTn id="38" dur="1" fill="hold">
                                          <p:stCondLst>
                                            <p:cond delay="0"/>
                                          </p:stCondLst>
                                        </p:cTn>
                                        <p:tgtEl>
                                          <p:spTgt spid="27"/>
                                        </p:tgtEl>
                                        <p:attrNameLst>
                                          <p:attrName>style.visibility</p:attrName>
                                        </p:attrNameLst>
                                      </p:cBhvr>
                                      <p:to>
                                        <p:strVal val="visible"/>
                                      </p:to>
                                    </p:set>
                                    <p:animEffect transition="in" filter="fade">
                                      <p:cBhvr>
                                        <p:cTn id="39" dur="500"/>
                                        <p:tgtEl>
                                          <p:spTgt spid="27"/>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5"/>
                                        </p:tgtEl>
                                        <p:attrNameLst>
                                          <p:attrName>style.visibility</p:attrName>
                                        </p:attrNameLst>
                                      </p:cBhvr>
                                      <p:to>
                                        <p:strVal val="visible"/>
                                      </p:to>
                                    </p:set>
                                    <p:animEffect transition="in" filter="fade">
                                      <p:cBhvr>
                                        <p:cTn id="42" dur="500"/>
                                        <p:tgtEl>
                                          <p:spTgt spid="45"/>
                                        </p:tgtEl>
                                      </p:cBhvr>
                                    </p:animEffect>
                                  </p:childTnLst>
                                </p:cTn>
                              </p:par>
                            </p:childTnLst>
                          </p:cTn>
                        </p:par>
                      </p:childTnLst>
                    </p:cTn>
                  </p:par>
                  <p:par>
                    <p:cTn id="43" fill="hold" nodeType="clickPar">
                      <p:stCondLst>
                        <p:cond delay="indefinite"/>
                      </p:stCondLst>
                      <p:childTnLst>
                        <p:par>
                          <p:cTn id="44" fill="hold">
                            <p:stCondLst>
                              <p:cond delay="0"/>
                            </p:stCondLst>
                            <p:childTnLst>
                              <p:par>
                                <p:cTn id="45" presetID="22" presetClass="entr" presetSubtype="1" fill="hold" nodeType="clickEffect">
                                  <p:stCondLst>
                                    <p:cond delay="0"/>
                                  </p:stCondLst>
                                  <p:childTnLst>
                                    <p:set>
                                      <p:cBhvr>
                                        <p:cTn id="46" dur="1" fill="hold">
                                          <p:stCondLst>
                                            <p:cond delay="0"/>
                                          </p:stCondLst>
                                        </p:cTn>
                                        <p:tgtEl>
                                          <p:spTgt spid="43"/>
                                        </p:tgtEl>
                                        <p:attrNameLst>
                                          <p:attrName>style.visibility</p:attrName>
                                        </p:attrNameLst>
                                      </p:cBhvr>
                                      <p:to>
                                        <p:strVal val="visible"/>
                                      </p:to>
                                    </p:set>
                                    <p:animEffect transition="in" filter="wipe(up)">
                                      <p:cBhvr>
                                        <p:cTn id="47" dur="500"/>
                                        <p:tgtEl>
                                          <p:spTgt spid="4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500"/>
                                        <p:tgtEl>
                                          <p:spTgt spid="55"/>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42"/>
                                        </p:tgtEl>
                                        <p:attrNameLst>
                                          <p:attrName>style.visibility</p:attrName>
                                        </p:attrNameLst>
                                      </p:cBhvr>
                                      <p:to>
                                        <p:strVal val="visible"/>
                                      </p:to>
                                    </p:set>
                                    <p:animEffect transition="in" filter="fade">
                                      <p:cBhvr>
                                        <p:cTn id="53" dur="500"/>
                                        <p:tgtEl>
                                          <p:spTgt spid="42"/>
                                        </p:tgtEl>
                                      </p:cBhvr>
                                    </p:animEffect>
                                  </p:childTnLst>
                                </p:cTn>
                              </p:par>
                              <p:par>
                                <p:cTn id="54" presetID="10" presetClass="entr" presetSubtype="0" fill="hold" nodeType="withEffect">
                                  <p:stCondLst>
                                    <p:cond delay="0"/>
                                  </p:stCondLst>
                                  <p:childTnLst>
                                    <p:set>
                                      <p:cBhvr>
                                        <p:cTn id="55" dur="1" fill="hold">
                                          <p:stCondLst>
                                            <p:cond delay="0"/>
                                          </p:stCondLst>
                                        </p:cTn>
                                        <p:tgtEl>
                                          <p:spTgt spid="19"/>
                                        </p:tgtEl>
                                        <p:attrNameLst>
                                          <p:attrName>style.visibility</p:attrName>
                                        </p:attrNameLst>
                                      </p:cBhvr>
                                      <p:to>
                                        <p:strVal val="visible"/>
                                      </p:to>
                                    </p:set>
                                    <p:animEffect transition="in" filter="fade">
                                      <p:cBhvr>
                                        <p:cTn id="56" dur="500"/>
                                        <p:tgtEl>
                                          <p:spTgt spid="1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50"/>
                                        </p:tgtEl>
                                        <p:attrNameLst>
                                          <p:attrName>style.visibility</p:attrName>
                                        </p:attrNameLst>
                                      </p:cBhvr>
                                      <p:to>
                                        <p:strVal val="visible"/>
                                      </p:to>
                                    </p:set>
                                    <p:animEffect transition="in" filter="fade">
                                      <p:cBhvr>
                                        <p:cTn id="59" dur="500"/>
                                        <p:tgtEl>
                                          <p:spTgt spid="50"/>
                                        </p:tgtEl>
                                      </p:cBhvr>
                                    </p:animEffect>
                                  </p:childTnLst>
                                </p:cTn>
                              </p:par>
                            </p:childTnLst>
                          </p:cTn>
                        </p:par>
                      </p:childTnLst>
                    </p:cTn>
                  </p:par>
                  <p:par>
                    <p:cTn id="60" fill="hold" nodeType="clickPar">
                      <p:stCondLst>
                        <p:cond delay="indefinite"/>
                      </p:stCondLst>
                      <p:childTnLst>
                        <p:par>
                          <p:cTn id="61" fill="hold">
                            <p:stCondLst>
                              <p:cond delay="0"/>
                            </p:stCondLst>
                            <p:childTnLst>
                              <p:par>
                                <p:cTn id="62" presetID="22" presetClass="entr" presetSubtype="4" fill="hold" grpId="0" nodeType="clickEffect">
                                  <p:stCondLst>
                                    <p:cond delay="0"/>
                                  </p:stCondLst>
                                  <p:childTnLst>
                                    <p:set>
                                      <p:cBhvr>
                                        <p:cTn id="63" dur="1" fill="hold">
                                          <p:stCondLst>
                                            <p:cond delay="0"/>
                                          </p:stCondLst>
                                        </p:cTn>
                                        <p:tgtEl>
                                          <p:spTgt spid="54"/>
                                        </p:tgtEl>
                                        <p:attrNameLst>
                                          <p:attrName>style.visibility</p:attrName>
                                        </p:attrNameLst>
                                      </p:cBhvr>
                                      <p:to>
                                        <p:strVal val="visible"/>
                                      </p:to>
                                    </p:set>
                                    <p:animEffect transition="in" filter="wipe(down)">
                                      <p:cBhvr>
                                        <p:cTn id="6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10" grpId="0" animBg="1"/>
      <p:bldP spid="42" grpId="0" animBg="1"/>
      <p:bldP spid="46" grpId="0" animBg="1"/>
      <p:bldP spid="54" grpId="0" animBg="1"/>
      <p:bldP spid="65" grpId="0" animBg="1"/>
      <p:bldP spid="66" grpId="0" animBg="1"/>
      <p:bldP spid="67" grpId="0" animBg="1"/>
      <p:bldP spid="73" grpId="0" animBg="1"/>
      <p:bldP spid="75" grpId="0" animBg="1"/>
      <p:bldP spid="70" grpId="0" animBg="1"/>
      <p:bldP spid="72" grpId="0" animBg="1"/>
      <p:bldP spid="45" grpId="0" animBg="1"/>
      <p:bldP spid="5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77DE79C-F8B6-D2D8-947F-7B255905AF3A}"/>
              </a:ext>
            </a:extLst>
          </p:cNvPr>
          <p:cNvSpPr>
            <a:spLocks noGrp="1"/>
          </p:cNvSpPr>
          <p:nvPr>
            <p:ph type="body" sz="quarter" idx="14"/>
          </p:nvPr>
        </p:nvSpPr>
        <p:spPr>
          <a:xfrm>
            <a:off x="606425" y="703110"/>
            <a:ext cx="7178040" cy="5212080"/>
          </a:xfrm>
        </p:spPr>
        <p:txBody>
          <a:bodyPr anchor="ctr"/>
          <a:lstStyle/>
          <a:p>
            <a:pPr marL="0" indent="0">
              <a:buNone/>
            </a:pPr>
            <a:r>
              <a:rPr lang="tr-TR" sz="6000" b="1" i="0" strike="noStrike" cap="none" spc="0" baseline="0">
                <a:solidFill>
                  <a:srgbClr val="FFFFFF"/>
                </a:solidFill>
                <a:effectLst/>
                <a:latin typeface="Calibri"/>
                <a:ea typeface="Calibri"/>
                <a:cs typeface="Calibri"/>
              </a:rPr>
              <a:t>3. Veri Toplama</a:t>
            </a:r>
          </a:p>
        </p:txBody>
      </p:sp>
    </p:spTree>
    <p:extLst>
      <p:ext uri="{BB962C8B-B14F-4D97-AF65-F5344CB8AC3E}">
        <p14:creationId xmlns:p14="http://schemas.microsoft.com/office/powerpoint/2010/main" val="288698229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rapezoid 37">
            <a:extLst>
              <a:ext uri="{FF2B5EF4-FFF2-40B4-BE49-F238E27FC236}">
                <a16:creationId xmlns:a16="http://schemas.microsoft.com/office/drawing/2014/main" id="{23FA616A-26EB-D85A-8A76-DC7A8156D264}"/>
              </a:ext>
            </a:extLst>
          </p:cNvPr>
          <p:cNvSpPr/>
          <p:nvPr/>
        </p:nvSpPr>
        <p:spPr>
          <a:xfrm rot="16200000">
            <a:off x="72950" y="4772505"/>
            <a:ext cx="963442" cy="103501"/>
          </a:xfrm>
          <a:prstGeom prst="trapezoid">
            <a:avLst>
              <a:gd name="adj" fmla="val 3190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apezoid 38">
            <a:extLst>
              <a:ext uri="{FF2B5EF4-FFF2-40B4-BE49-F238E27FC236}">
                <a16:creationId xmlns:a16="http://schemas.microsoft.com/office/drawing/2014/main" id="{DE1420D9-2A21-24D0-5465-C345DBC4E4F0}"/>
              </a:ext>
            </a:extLst>
          </p:cNvPr>
          <p:cNvSpPr/>
          <p:nvPr/>
        </p:nvSpPr>
        <p:spPr>
          <a:xfrm rot="16200000">
            <a:off x="72951" y="5867013"/>
            <a:ext cx="963442" cy="103501"/>
          </a:xfrm>
          <a:prstGeom prst="trapezoid">
            <a:avLst>
              <a:gd name="adj" fmla="val 31901"/>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rapezoid 36">
            <a:extLst>
              <a:ext uri="{FF2B5EF4-FFF2-40B4-BE49-F238E27FC236}">
                <a16:creationId xmlns:a16="http://schemas.microsoft.com/office/drawing/2014/main" id="{13ED03FA-581C-E0F5-ABDE-B15B259B0CDD}"/>
              </a:ext>
            </a:extLst>
          </p:cNvPr>
          <p:cNvSpPr/>
          <p:nvPr/>
        </p:nvSpPr>
        <p:spPr>
          <a:xfrm rot="16200000">
            <a:off x="72950" y="3677995"/>
            <a:ext cx="963442" cy="103501"/>
          </a:xfrm>
          <a:prstGeom prst="trapezoid">
            <a:avLst>
              <a:gd name="adj" fmla="val 31901"/>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3C28689-ECFA-3E06-382E-214BA025A44B}"/>
              </a:ext>
            </a:extLst>
          </p:cNvPr>
          <p:cNvSpPr/>
          <p:nvPr/>
        </p:nvSpPr>
        <p:spPr>
          <a:xfrm>
            <a:off x="3014782" y="4379103"/>
            <a:ext cx="8565643" cy="89030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tr-TR" sz="1800" b="0" i="0" strike="noStrike" cap="none" spc="0" baseline="0">
                <a:solidFill>
                  <a:srgbClr val="000000"/>
                </a:solidFill>
                <a:effectLst/>
                <a:latin typeface="Calibri"/>
                <a:ea typeface="Calibri"/>
                <a:cs typeface="Calibri"/>
              </a:rPr>
              <a:t>Tüm birimler ve tesisler için uyumlu ve test edilmiş veri toplama şablonları, ör. Excel tabanlı</a:t>
            </a:r>
          </a:p>
        </p:txBody>
      </p:sp>
      <p:sp>
        <p:nvSpPr>
          <p:cNvPr id="41" name="Rectangle 40">
            <a:extLst>
              <a:ext uri="{FF2B5EF4-FFF2-40B4-BE49-F238E27FC236}">
                <a16:creationId xmlns:a16="http://schemas.microsoft.com/office/drawing/2014/main" id="{1ACA79AA-8634-686A-4CFE-84EEB5C21722}"/>
              </a:ext>
            </a:extLst>
          </p:cNvPr>
          <p:cNvSpPr/>
          <p:nvPr/>
        </p:nvSpPr>
        <p:spPr>
          <a:xfrm>
            <a:off x="3014782" y="5473611"/>
            <a:ext cx="8565643" cy="8903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tr-TR" sz="1800" b="0" i="0" strike="noStrike" cap="none" spc="0" baseline="0">
                <a:solidFill>
                  <a:srgbClr val="000000"/>
                </a:solidFill>
                <a:effectLst/>
                <a:latin typeface="Calibri"/>
                <a:ea typeface="Calibri"/>
                <a:cs typeface="Calibri"/>
              </a:rPr>
              <a:t>Özenli çevresel veri toplama ve işleme yazılımı</a:t>
            </a:r>
          </a:p>
        </p:txBody>
      </p:sp>
      <p:sp>
        <p:nvSpPr>
          <p:cNvPr id="42" name="Rectangle 41">
            <a:extLst>
              <a:ext uri="{FF2B5EF4-FFF2-40B4-BE49-F238E27FC236}">
                <a16:creationId xmlns:a16="http://schemas.microsoft.com/office/drawing/2014/main" id="{36DBE0B5-25D4-A387-A8D6-09F06B782C50}"/>
              </a:ext>
            </a:extLst>
          </p:cNvPr>
          <p:cNvSpPr/>
          <p:nvPr/>
        </p:nvSpPr>
        <p:spPr>
          <a:xfrm>
            <a:off x="3014782" y="3284594"/>
            <a:ext cx="8565643" cy="89030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tr-TR" sz="1800" b="0" i="0" strike="noStrike" cap="none" spc="0" baseline="0">
                <a:solidFill>
                  <a:srgbClr val="000000"/>
                </a:solidFill>
                <a:effectLst/>
                <a:latin typeface="Calibri"/>
                <a:ea typeface="Calibri"/>
                <a:cs typeface="Calibri"/>
              </a:rPr>
              <a:t>Her birim ve tesis, verileri mevcut formatta sunar</a:t>
            </a:r>
          </a:p>
        </p:txBody>
      </p:sp>
      <p:graphicFrame>
        <p:nvGraphicFramePr>
          <p:cNvPr id="7" name="Object 6" hidden="1">
            <a:extLst>
              <a:ext uri="{FF2B5EF4-FFF2-40B4-BE49-F238E27FC236}">
                <a16:creationId xmlns:a16="http://schemas.microsoft.com/office/drawing/2014/main" id="{FD78A039-230E-4689-BA76-26051703CFE8}"/>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D78A039-230E-4689-BA76-26051703CFE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9A3180-FBA6-4ECE-AAC4-378779425148}"/>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Veri toplama, sürekli bir iyileştirme sürecidir</a:t>
            </a:r>
          </a:p>
        </p:txBody>
      </p:sp>
      <p:sp>
        <p:nvSpPr>
          <p:cNvPr id="9" name="Arrow: Bent 8">
            <a:extLst>
              <a:ext uri="{FF2B5EF4-FFF2-40B4-BE49-F238E27FC236}">
                <a16:creationId xmlns:a16="http://schemas.microsoft.com/office/drawing/2014/main" id="{273FA8F5-EF26-59D1-17C1-868E980AA321}"/>
              </a:ext>
            </a:extLst>
          </p:cNvPr>
          <p:cNvSpPr/>
          <p:nvPr/>
        </p:nvSpPr>
        <p:spPr>
          <a:xfrm rot="10800000">
            <a:off x="-5" y="3990973"/>
            <a:ext cx="606425" cy="250967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Bent 28">
            <a:extLst>
              <a:ext uri="{FF2B5EF4-FFF2-40B4-BE49-F238E27FC236}">
                <a16:creationId xmlns:a16="http://schemas.microsoft.com/office/drawing/2014/main" id="{007EBB83-C35B-2E41-D91D-F94E61E04B53}"/>
              </a:ext>
            </a:extLst>
          </p:cNvPr>
          <p:cNvSpPr/>
          <p:nvPr/>
        </p:nvSpPr>
        <p:spPr>
          <a:xfrm rot="5400000" flipV="1">
            <a:off x="2929426" y="791948"/>
            <a:ext cx="1061290" cy="570729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67098630-DA99-FC73-0E08-E9130C72BF57}"/>
              </a:ext>
            </a:extLst>
          </p:cNvPr>
          <p:cNvSpPr/>
          <p:nvPr/>
        </p:nvSpPr>
        <p:spPr>
          <a:xfrm rot="16200000" flipH="1" flipV="1">
            <a:off x="5283996" y="-629804"/>
            <a:ext cx="2551678" cy="10041187"/>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222682E-F642-2ED2-B93C-12B432DE07B7}"/>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Rectangle 33">
            <a:extLst>
              <a:ext uri="{FF2B5EF4-FFF2-40B4-BE49-F238E27FC236}">
                <a16:creationId xmlns:a16="http://schemas.microsoft.com/office/drawing/2014/main" id="{2379D47C-0C15-D79D-7959-0F9E4BACD3C7}"/>
              </a:ext>
            </a:extLst>
          </p:cNvPr>
          <p:cNvSpPr/>
          <p:nvPr/>
        </p:nvSpPr>
        <p:spPr>
          <a:xfrm>
            <a:off x="502920" y="4379103"/>
            <a:ext cx="2447089" cy="890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tr-TR" sz="2000" b="1" i="0" strike="noStrike" cap="none" spc="0" baseline="0">
                <a:solidFill>
                  <a:srgbClr val="FFFFFF"/>
                </a:solidFill>
                <a:effectLst/>
                <a:latin typeface="Calibri"/>
                <a:ea typeface="Calibri"/>
                <a:cs typeface="Calibri"/>
              </a:rPr>
              <a:t>Rutin ve iyi hazırlanmış</a:t>
            </a:r>
          </a:p>
        </p:txBody>
      </p:sp>
      <p:sp>
        <p:nvSpPr>
          <p:cNvPr id="35" name="Rectangle 34">
            <a:extLst>
              <a:ext uri="{FF2B5EF4-FFF2-40B4-BE49-F238E27FC236}">
                <a16:creationId xmlns:a16="http://schemas.microsoft.com/office/drawing/2014/main" id="{27044F63-9886-199C-54CD-D7AEA2B08072}"/>
              </a:ext>
            </a:extLst>
          </p:cNvPr>
          <p:cNvSpPr/>
          <p:nvPr/>
        </p:nvSpPr>
        <p:spPr>
          <a:xfrm>
            <a:off x="502920" y="5473611"/>
            <a:ext cx="2447089" cy="8903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defTabSz="914400" rtl="0" eaLnBrk="1" fontAlgn="auto" latinLnBrk="0" hangingPunct="1">
              <a:lnSpc>
                <a:spcPct val="100000"/>
              </a:lnSpc>
              <a:spcBef>
                <a:spcPct val="0"/>
              </a:spcBef>
              <a:spcAft>
                <a:spcPct val="0"/>
              </a:spcAft>
              <a:buClrTx/>
              <a:buSzTx/>
              <a:buFontTx/>
              <a:buNone/>
              <a:defRPr/>
            </a:pPr>
            <a:r>
              <a:rPr lang="tr-TR" sz="2000" b="1" i="0" strike="noStrike" cap="none" spc="0" baseline="0">
                <a:solidFill>
                  <a:srgbClr val="000000"/>
                </a:solidFill>
                <a:effectLst/>
                <a:latin typeface="Calibri"/>
                <a:ea typeface="Calibri"/>
                <a:cs typeface="Calibri"/>
              </a:rPr>
              <a:t>Sınıfının en iyisi</a:t>
            </a:r>
          </a:p>
        </p:txBody>
      </p:sp>
      <p:sp>
        <p:nvSpPr>
          <p:cNvPr id="11" name="Rectangle 10">
            <a:extLst>
              <a:ext uri="{FF2B5EF4-FFF2-40B4-BE49-F238E27FC236}">
                <a16:creationId xmlns:a16="http://schemas.microsoft.com/office/drawing/2014/main" id="{468EE278-15B7-002F-4203-D3EE1CEB5223}"/>
              </a:ext>
            </a:extLst>
          </p:cNvPr>
          <p:cNvSpPr/>
          <p:nvPr/>
        </p:nvSpPr>
        <p:spPr>
          <a:xfrm>
            <a:off x="502920" y="3284594"/>
            <a:ext cx="2447089" cy="8903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r>
              <a:rPr lang="tr-TR" sz="2000" b="1" i="0" strike="noStrike" cap="none" spc="0" baseline="0">
                <a:solidFill>
                  <a:srgbClr val="FFFFFF"/>
                </a:solidFill>
                <a:effectLst/>
                <a:latin typeface="Calibri"/>
                <a:ea typeface="Calibri"/>
                <a:cs typeface="Calibri"/>
              </a:rPr>
              <a:t>Başlatanlar</a:t>
            </a:r>
          </a:p>
        </p:txBody>
      </p:sp>
      <p:sp>
        <p:nvSpPr>
          <p:cNvPr id="53" name="Rectangle 52">
            <a:extLst>
              <a:ext uri="{FF2B5EF4-FFF2-40B4-BE49-F238E27FC236}">
                <a16:creationId xmlns:a16="http://schemas.microsoft.com/office/drawing/2014/main" id="{D12ADBCA-80DC-0CAB-E8BF-9639EC2F12AC}"/>
              </a:ext>
            </a:extLst>
          </p:cNvPr>
          <p:cNvSpPr/>
          <p:nvPr/>
        </p:nvSpPr>
        <p:spPr>
          <a:xfrm>
            <a:off x="-6" y="1185863"/>
            <a:ext cx="12192005" cy="176145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25F9EACA-1A2D-0F37-0990-B2E294163703}"/>
              </a:ext>
            </a:extLst>
          </p:cNvPr>
          <p:cNvSpPr txBox="1"/>
          <p:nvPr/>
        </p:nvSpPr>
        <p:spPr>
          <a:xfrm>
            <a:off x="1318260" y="1287711"/>
            <a:ext cx="10262167" cy="644468"/>
          </a:xfrm>
          <a:prstGeom prst="rect">
            <a:avLst/>
          </a:prstGeom>
          <a:noFill/>
        </p:spPr>
        <p:txBody>
          <a:bodyPr wrap="square" anchor="ctr">
            <a:noAutofit/>
          </a:bodyPr>
          <a:lstStyle/>
          <a:p>
            <a:r>
              <a:rPr lang="tr-TR" sz="2000" b="0" i="0" strike="noStrike" cap="none" spc="0" baseline="0">
                <a:solidFill>
                  <a:srgbClr val="FFFFFF"/>
                </a:solidFill>
                <a:effectLst/>
                <a:latin typeface="Calibri"/>
                <a:ea typeface="Calibri"/>
                <a:cs typeface="Calibri"/>
              </a:rPr>
              <a:t>Kuruluşlar daha fazla deneyim ve rehberlikle aşamalar boyunca ilerler</a:t>
            </a:r>
          </a:p>
        </p:txBody>
      </p:sp>
      <p:sp>
        <p:nvSpPr>
          <p:cNvPr id="47" name="TextBox 46">
            <a:extLst>
              <a:ext uri="{FF2B5EF4-FFF2-40B4-BE49-F238E27FC236}">
                <a16:creationId xmlns:a16="http://schemas.microsoft.com/office/drawing/2014/main" id="{02E24A86-FE3D-B3D4-FB58-6D89B36E2FDA}"/>
              </a:ext>
            </a:extLst>
          </p:cNvPr>
          <p:cNvSpPr txBox="1"/>
          <p:nvPr/>
        </p:nvSpPr>
        <p:spPr>
          <a:xfrm>
            <a:off x="1318260" y="2200997"/>
            <a:ext cx="10262167" cy="644468"/>
          </a:xfrm>
          <a:prstGeom prst="rect">
            <a:avLst/>
          </a:prstGeom>
          <a:noFill/>
        </p:spPr>
        <p:txBody>
          <a:bodyPr wrap="square" anchor="ctr">
            <a:noAutofit/>
          </a:bodyPr>
          <a:lstStyle/>
          <a:p>
            <a:r>
              <a:rPr lang="tr-TR" sz="2000" b="0" i="0" strike="noStrike" cap="none" spc="0" baseline="0">
                <a:solidFill>
                  <a:srgbClr val="FFFFFF"/>
                </a:solidFill>
                <a:effectLst/>
                <a:latin typeface="Calibri"/>
                <a:ea typeface="Calibri"/>
                <a:cs typeface="Calibri"/>
              </a:rPr>
              <a:t>Genellikle 2 yıllık veri yönetimi sonrasında daha iyi hale gelen sürekli bir iyileştirme sürecidir.</a:t>
            </a:r>
          </a:p>
        </p:txBody>
      </p:sp>
      <p:cxnSp>
        <p:nvCxnSpPr>
          <p:cNvPr id="49" name="Straight Connector 48">
            <a:extLst>
              <a:ext uri="{FF2B5EF4-FFF2-40B4-BE49-F238E27FC236}">
                <a16:creationId xmlns:a16="http://schemas.microsoft.com/office/drawing/2014/main" id="{5707D4A1-B1EF-48A0-BFAA-7A317971D2AB}"/>
              </a:ext>
            </a:extLst>
          </p:cNvPr>
          <p:cNvCxnSpPr/>
          <p:nvPr/>
        </p:nvCxnSpPr>
        <p:spPr>
          <a:xfrm>
            <a:off x="1412875" y="2074947"/>
            <a:ext cx="1016755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B413E1AF-7351-3123-76D0-31DE6BB410FF}"/>
              </a:ext>
            </a:extLst>
          </p:cNvPr>
          <p:cNvGrpSpPr/>
          <p:nvPr/>
        </p:nvGrpSpPr>
        <p:grpSpPr>
          <a:xfrm>
            <a:off x="731728" y="1375458"/>
            <a:ext cx="462072" cy="468974"/>
            <a:chOff x="-4519330" y="15002"/>
            <a:chExt cx="3566064" cy="3619325"/>
          </a:xfrm>
          <a:solidFill>
            <a:schemeClr val="bg1"/>
          </a:solidFill>
        </p:grpSpPr>
        <p:sp>
          <p:nvSpPr>
            <p:cNvPr id="60" name="Freeform: Shape 59">
              <a:extLst>
                <a:ext uri="{FF2B5EF4-FFF2-40B4-BE49-F238E27FC236}">
                  <a16:creationId xmlns:a16="http://schemas.microsoft.com/office/drawing/2014/main" id="{5EA8F7E2-0CD8-C5E6-0348-F7FD765A26AA}"/>
                </a:ext>
              </a:extLst>
            </p:cNvPr>
            <p:cNvSpPr/>
            <p:nvPr/>
          </p:nvSpPr>
          <p:spPr>
            <a:xfrm>
              <a:off x="-3254471" y="3287705"/>
              <a:ext cx="1043863" cy="346622"/>
            </a:xfrm>
            <a:custGeom>
              <a:avLst/>
              <a:gdLst>
                <a:gd name="connsiteX0" fmla="*/ 1002068 w 1043863"/>
                <a:gd name="connsiteY0" fmla="*/ 4 h 346622"/>
                <a:gd name="connsiteX1" fmla="*/ 518236 w 1043863"/>
                <a:gd name="connsiteY1" fmla="*/ 110433 h 346622"/>
                <a:gd name="connsiteX2" fmla="*/ 38100 w 1043863"/>
                <a:gd name="connsiteY2" fmla="*/ 3722 h 346622"/>
                <a:gd name="connsiteX3" fmla="*/ 38100 w 1043863"/>
                <a:gd name="connsiteY3" fmla="*/ 118022 h 346622"/>
                <a:gd name="connsiteX4" fmla="*/ 0 w 1043863"/>
                <a:gd name="connsiteY4" fmla="*/ 243783 h 346622"/>
                <a:gd name="connsiteX5" fmla="*/ 521932 w 1043863"/>
                <a:gd name="connsiteY5" fmla="*/ 346622 h 346622"/>
                <a:gd name="connsiteX6" fmla="*/ 1043864 w 1043863"/>
                <a:gd name="connsiteY6" fmla="*/ 243783 h 346622"/>
                <a:gd name="connsiteX7" fmla="*/ 1005764 w 1043863"/>
                <a:gd name="connsiteY7" fmla="*/ 118022 h 346622"/>
                <a:gd name="connsiteX8" fmla="*/ 1005913 w 1043863"/>
                <a:gd name="connsiteY8" fmla="*/ 0 h 3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3863" h="346622">
                  <a:moveTo>
                    <a:pt x="1002068" y="4"/>
                  </a:moveTo>
                  <a:cubicBezTo>
                    <a:pt x="857258" y="68614"/>
                    <a:pt x="693397" y="110433"/>
                    <a:pt x="518236" y="110433"/>
                  </a:cubicBezTo>
                  <a:cubicBezTo>
                    <a:pt x="346786" y="110433"/>
                    <a:pt x="182926" y="72333"/>
                    <a:pt x="38100" y="3722"/>
                  </a:cubicBezTo>
                  <a:lnTo>
                    <a:pt x="38100" y="118022"/>
                  </a:lnTo>
                  <a:cubicBezTo>
                    <a:pt x="38100" y="163712"/>
                    <a:pt x="22920" y="209401"/>
                    <a:pt x="0" y="243783"/>
                  </a:cubicBezTo>
                  <a:cubicBezTo>
                    <a:pt x="159990" y="308522"/>
                    <a:pt x="335311" y="346622"/>
                    <a:pt x="521932" y="346622"/>
                  </a:cubicBezTo>
                  <a:cubicBezTo>
                    <a:pt x="708561" y="346622"/>
                    <a:pt x="883882" y="308522"/>
                    <a:pt x="1043864" y="243783"/>
                  </a:cubicBezTo>
                  <a:cubicBezTo>
                    <a:pt x="1017224" y="209552"/>
                    <a:pt x="1005764" y="163712"/>
                    <a:pt x="1005764" y="118022"/>
                  </a:cubicBezTo>
                  <a:lnTo>
                    <a:pt x="1005913" y="0"/>
                  </a:lnTo>
                  <a:close/>
                </a:path>
              </a:pathLst>
            </a:custGeom>
            <a:grpFill/>
            <a:ln w="381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3C05DDD-6898-C350-BF77-4F321C24F0D8}"/>
                </a:ext>
              </a:extLst>
            </p:cNvPr>
            <p:cNvSpPr/>
            <p:nvPr/>
          </p:nvSpPr>
          <p:spPr>
            <a:xfrm>
              <a:off x="-2019937" y="1135083"/>
              <a:ext cx="598007" cy="815429"/>
            </a:xfrm>
            <a:custGeom>
              <a:avLst/>
              <a:gdLst>
                <a:gd name="connsiteX0" fmla="*/ 21 w 598007"/>
                <a:gd name="connsiteY0" fmla="*/ 274447 h 815429"/>
                <a:gd name="connsiteX1" fmla="*/ 358100 w 598007"/>
                <a:gd name="connsiteY1" fmla="*/ 815429 h 815429"/>
                <a:gd name="connsiteX2" fmla="*/ 506629 w 598007"/>
                <a:gd name="connsiteY2" fmla="*/ 792510 h 815429"/>
                <a:gd name="connsiteX3" fmla="*/ 598008 w 598007"/>
                <a:gd name="connsiteY3" fmla="*/ 800100 h 815429"/>
                <a:gd name="connsiteX4" fmla="*/ 22622 w 598007"/>
                <a:gd name="connsiteY4" fmla="*/ 0 h 815429"/>
                <a:gd name="connsiteX5" fmla="*/ 22622 w 598007"/>
                <a:gd name="connsiteY5" fmla="*/ 11460 h 815429"/>
                <a:gd name="connsiteX6" fmla="*/ 22622 w 598007"/>
                <a:gd name="connsiteY6" fmla="*/ 167731 h 815429"/>
                <a:gd name="connsiteX7" fmla="*/ 0 w 598007"/>
                <a:gd name="connsiteY7" fmla="*/ 274441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007" h="815429">
                  <a:moveTo>
                    <a:pt x="21" y="274447"/>
                  </a:moveTo>
                  <a:cubicBezTo>
                    <a:pt x="167600" y="415387"/>
                    <a:pt x="293360" y="602168"/>
                    <a:pt x="358100" y="815429"/>
                  </a:cubicBezTo>
                  <a:cubicBezTo>
                    <a:pt x="403789" y="800249"/>
                    <a:pt x="457221" y="792510"/>
                    <a:pt x="506629" y="792510"/>
                  </a:cubicBezTo>
                  <a:cubicBezTo>
                    <a:pt x="537139" y="792510"/>
                    <a:pt x="567650" y="796379"/>
                    <a:pt x="598008" y="800100"/>
                  </a:cubicBezTo>
                  <a:cubicBezTo>
                    <a:pt x="514218" y="468660"/>
                    <a:pt x="304668" y="182918"/>
                    <a:pt x="22622" y="0"/>
                  </a:cubicBezTo>
                  <a:lnTo>
                    <a:pt x="22622" y="11460"/>
                  </a:lnTo>
                  <a:lnTo>
                    <a:pt x="22622" y="167731"/>
                  </a:lnTo>
                  <a:cubicBezTo>
                    <a:pt x="26640" y="205831"/>
                    <a:pt x="19050" y="243931"/>
                    <a:pt x="0" y="274441"/>
                  </a:cubicBezTo>
                  <a:close/>
                </a:path>
              </a:pathLst>
            </a:custGeom>
            <a:grpFill/>
            <a:ln w="381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728CB479-1E65-CAFC-F126-8EB42289C054}"/>
                </a:ext>
              </a:extLst>
            </p:cNvPr>
            <p:cNvSpPr/>
            <p:nvPr/>
          </p:nvSpPr>
          <p:spPr>
            <a:xfrm>
              <a:off x="-4058450" y="1135090"/>
              <a:ext cx="602026" cy="815429"/>
            </a:xfrm>
            <a:custGeom>
              <a:avLst/>
              <a:gdLst>
                <a:gd name="connsiteX0" fmla="*/ 243947 w 602026"/>
                <a:gd name="connsiteY0" fmla="*/ 815423 h 815429"/>
                <a:gd name="connsiteX1" fmla="*/ 602027 w 602026"/>
                <a:gd name="connsiteY1" fmla="*/ 274441 h 815429"/>
                <a:gd name="connsiteX2" fmla="*/ 575386 w 602026"/>
                <a:gd name="connsiteY2" fmla="*/ 167731 h 815429"/>
                <a:gd name="connsiteX3" fmla="*/ 575386 w 602026"/>
                <a:gd name="connsiteY3" fmla="*/ 11460 h 815429"/>
                <a:gd name="connsiteX4" fmla="*/ 575386 w 602026"/>
                <a:gd name="connsiteY4" fmla="*/ 0 h 815429"/>
                <a:gd name="connsiteX5" fmla="*/ 0 w 602026"/>
                <a:gd name="connsiteY5" fmla="*/ 800100 h 815429"/>
                <a:gd name="connsiteX6" fmla="*/ 91379 w 602026"/>
                <a:gd name="connsiteY6" fmla="*/ 792510 h 815429"/>
                <a:gd name="connsiteX7" fmla="*/ 243928 w 602026"/>
                <a:gd name="connsiteY7" fmla="*/ 815429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026" h="815429">
                  <a:moveTo>
                    <a:pt x="243947" y="815423"/>
                  </a:moveTo>
                  <a:cubicBezTo>
                    <a:pt x="308687" y="602002"/>
                    <a:pt x="434447" y="415373"/>
                    <a:pt x="602027" y="274441"/>
                  </a:cubicBezTo>
                  <a:cubicBezTo>
                    <a:pt x="586846" y="243931"/>
                    <a:pt x="575386" y="205831"/>
                    <a:pt x="575386" y="167731"/>
                  </a:cubicBezTo>
                  <a:lnTo>
                    <a:pt x="575386" y="11460"/>
                  </a:lnTo>
                  <a:lnTo>
                    <a:pt x="575386" y="0"/>
                  </a:lnTo>
                  <a:cubicBezTo>
                    <a:pt x="293507" y="182910"/>
                    <a:pt x="87668" y="468668"/>
                    <a:pt x="0" y="800100"/>
                  </a:cubicBezTo>
                  <a:cubicBezTo>
                    <a:pt x="30510" y="796231"/>
                    <a:pt x="61021" y="792510"/>
                    <a:pt x="91379" y="792510"/>
                  </a:cubicBezTo>
                  <a:cubicBezTo>
                    <a:pt x="148678" y="792510"/>
                    <a:pt x="198238" y="800100"/>
                    <a:pt x="243928" y="815429"/>
                  </a:cubicBezTo>
                  <a:close/>
                </a:path>
              </a:pathLst>
            </a:custGeom>
            <a:grpFill/>
            <a:ln w="381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3B152726-2476-1EB9-942A-D11D74B681E5}"/>
                </a:ext>
              </a:extLst>
            </p:cNvPr>
            <p:cNvSpPr/>
            <p:nvPr/>
          </p:nvSpPr>
          <p:spPr>
            <a:xfrm>
              <a:off x="-3071537" y="15002"/>
              <a:ext cx="670620" cy="670620"/>
            </a:xfrm>
            <a:custGeom>
              <a:avLst/>
              <a:gdLst>
                <a:gd name="connsiteX0" fmla="*/ 670621 w 670620"/>
                <a:gd name="connsiteY0" fmla="*/ 335310 h 670620"/>
                <a:gd name="connsiteX1" fmla="*/ 335310 w 670620"/>
                <a:gd name="connsiteY1" fmla="*/ 670621 h 670620"/>
                <a:gd name="connsiteX2" fmla="*/ 0 w 670620"/>
                <a:gd name="connsiteY2" fmla="*/ 335310 h 670620"/>
                <a:gd name="connsiteX3" fmla="*/ 335310 w 670620"/>
                <a:gd name="connsiteY3" fmla="*/ 0 h 670620"/>
                <a:gd name="connsiteX4" fmla="*/ 670621 w 670620"/>
                <a:gd name="connsiteY4" fmla="*/ 335310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0"/>
                  </a:moveTo>
                  <a:cubicBezTo>
                    <a:pt x="670621" y="520454"/>
                    <a:pt x="520454" y="670621"/>
                    <a:pt x="335310" y="670621"/>
                  </a:cubicBezTo>
                  <a:cubicBezTo>
                    <a:pt x="150167" y="670621"/>
                    <a:pt x="0" y="520454"/>
                    <a:pt x="0" y="335310"/>
                  </a:cubicBezTo>
                  <a:cubicBezTo>
                    <a:pt x="0" y="150167"/>
                    <a:pt x="150167" y="0"/>
                    <a:pt x="335310" y="0"/>
                  </a:cubicBezTo>
                  <a:cubicBezTo>
                    <a:pt x="520454" y="0"/>
                    <a:pt x="670621" y="150167"/>
                    <a:pt x="670621" y="335310"/>
                  </a:cubicBezTo>
                </a:path>
              </a:pathLst>
            </a:custGeom>
            <a:grpFill/>
            <a:ln w="381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BEEA9F7-6226-6794-4C37-373B8B7F0817}"/>
                </a:ext>
              </a:extLst>
            </p:cNvPr>
            <p:cNvSpPr/>
            <p:nvPr/>
          </p:nvSpPr>
          <p:spPr>
            <a:xfrm>
              <a:off x="-3296410" y="784575"/>
              <a:ext cx="1112641" cy="552451"/>
            </a:xfrm>
            <a:custGeom>
              <a:avLst/>
              <a:gdLst>
                <a:gd name="connsiteX0" fmla="*/ 38243 w 1112641"/>
                <a:gd name="connsiteY0" fmla="*/ 552452 h 552451"/>
                <a:gd name="connsiteX1" fmla="*/ 1078411 w 1112641"/>
                <a:gd name="connsiteY1" fmla="*/ 552452 h 552451"/>
                <a:gd name="connsiteX2" fmla="*/ 1112642 w 1112641"/>
                <a:gd name="connsiteY2" fmla="*/ 518221 h 552451"/>
                <a:gd name="connsiteX3" fmla="*/ 1112642 w 1112641"/>
                <a:gd name="connsiteY3" fmla="*/ 361950 h 552451"/>
                <a:gd name="connsiteX4" fmla="*/ 853531 w 1112641"/>
                <a:gd name="connsiteY4" fmla="*/ 0 h 552451"/>
                <a:gd name="connsiteX5" fmla="*/ 556321 w 1112641"/>
                <a:gd name="connsiteY5" fmla="*/ 91379 h 552451"/>
                <a:gd name="connsiteX6" fmla="*/ 259111 w 1112641"/>
                <a:gd name="connsiteY6" fmla="*/ 0 h 552451"/>
                <a:gd name="connsiteX7" fmla="*/ 0 w 1112641"/>
                <a:gd name="connsiteY7" fmla="*/ 361950 h 552451"/>
                <a:gd name="connsiteX8" fmla="*/ 0 w 1112641"/>
                <a:gd name="connsiteY8" fmla="*/ 518221 h 552451"/>
                <a:gd name="connsiteX9" fmla="*/ 38249 w 1112641"/>
                <a:gd name="connsiteY9" fmla="*/ 552452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641" h="552451">
                  <a:moveTo>
                    <a:pt x="38243" y="552452"/>
                  </a:moveTo>
                  <a:lnTo>
                    <a:pt x="1078411" y="552452"/>
                  </a:lnTo>
                  <a:cubicBezTo>
                    <a:pt x="1097461" y="552452"/>
                    <a:pt x="1112642" y="537271"/>
                    <a:pt x="1112642" y="518221"/>
                  </a:cubicBezTo>
                  <a:lnTo>
                    <a:pt x="1112642" y="361950"/>
                  </a:lnTo>
                  <a:cubicBezTo>
                    <a:pt x="1112642" y="194371"/>
                    <a:pt x="1002213" y="49560"/>
                    <a:pt x="853531" y="0"/>
                  </a:cubicBezTo>
                  <a:cubicBezTo>
                    <a:pt x="769742" y="57150"/>
                    <a:pt x="666902" y="91379"/>
                    <a:pt x="556321" y="91379"/>
                  </a:cubicBezTo>
                  <a:cubicBezTo>
                    <a:pt x="445892" y="91379"/>
                    <a:pt x="342900" y="57148"/>
                    <a:pt x="259111" y="0"/>
                  </a:cubicBezTo>
                  <a:cubicBezTo>
                    <a:pt x="106710" y="53279"/>
                    <a:pt x="0" y="194371"/>
                    <a:pt x="0" y="361950"/>
                  </a:cubicBezTo>
                  <a:lnTo>
                    <a:pt x="0" y="518221"/>
                  </a:lnTo>
                  <a:cubicBezTo>
                    <a:pt x="3869" y="537271"/>
                    <a:pt x="19199" y="552452"/>
                    <a:pt x="38249" y="552452"/>
                  </a:cubicBezTo>
                  <a:close/>
                </a:path>
              </a:pathLst>
            </a:custGeom>
            <a:grpFill/>
            <a:ln w="381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0D804C11-1CCE-6552-DF46-FDC99EEFB7D0}"/>
                </a:ext>
              </a:extLst>
            </p:cNvPr>
            <p:cNvSpPr/>
            <p:nvPr/>
          </p:nvSpPr>
          <p:spPr>
            <a:xfrm>
              <a:off x="-4519330" y="2883963"/>
              <a:ext cx="1108731" cy="556322"/>
            </a:xfrm>
            <a:custGeom>
              <a:avLst/>
              <a:gdLst>
                <a:gd name="connsiteX0" fmla="*/ 853531 w 1108731"/>
                <a:gd name="connsiteY0" fmla="*/ 0 h 556322"/>
                <a:gd name="connsiteX1" fmla="*/ 556321 w 1108731"/>
                <a:gd name="connsiteY1" fmla="*/ 95250 h 556322"/>
                <a:gd name="connsiteX2" fmla="*/ 259110 w 1108731"/>
                <a:gd name="connsiteY2" fmla="*/ 0 h 556322"/>
                <a:gd name="connsiteX3" fmla="*/ 0 w 1108731"/>
                <a:gd name="connsiteY3" fmla="*/ 365821 h 556322"/>
                <a:gd name="connsiteX4" fmla="*/ 0 w 1108731"/>
                <a:gd name="connsiteY4" fmla="*/ 522092 h 556322"/>
                <a:gd name="connsiteX5" fmla="*/ 34231 w 1108731"/>
                <a:gd name="connsiteY5" fmla="*/ 556322 h 556322"/>
                <a:gd name="connsiteX6" fmla="*/ 1074399 w 1108731"/>
                <a:gd name="connsiteY6" fmla="*/ 556322 h 556322"/>
                <a:gd name="connsiteX7" fmla="*/ 1108629 w 1108731"/>
                <a:gd name="connsiteY7" fmla="*/ 522092 h 556322"/>
                <a:gd name="connsiteX8" fmla="*/ 1108629 w 1108731"/>
                <a:gd name="connsiteY8" fmla="*/ 365821 h 556322"/>
                <a:gd name="connsiteX9" fmla="*/ 853538 w 1108731"/>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731" h="556322">
                  <a:moveTo>
                    <a:pt x="853531" y="0"/>
                  </a:moveTo>
                  <a:cubicBezTo>
                    <a:pt x="769742" y="57150"/>
                    <a:pt x="666902" y="95250"/>
                    <a:pt x="556321" y="95250"/>
                  </a:cubicBezTo>
                  <a:cubicBezTo>
                    <a:pt x="445892" y="95250"/>
                    <a:pt x="342900" y="61019"/>
                    <a:pt x="259110" y="0"/>
                  </a:cubicBezTo>
                  <a:cubicBezTo>
                    <a:pt x="110581" y="53279"/>
                    <a:pt x="0" y="198089"/>
                    <a:pt x="0" y="365821"/>
                  </a:cubicBezTo>
                  <a:lnTo>
                    <a:pt x="0" y="522092"/>
                  </a:lnTo>
                  <a:cubicBezTo>
                    <a:pt x="0" y="541142"/>
                    <a:pt x="15181" y="556322"/>
                    <a:pt x="34231" y="556322"/>
                  </a:cubicBezTo>
                  <a:lnTo>
                    <a:pt x="1074399" y="556322"/>
                  </a:lnTo>
                  <a:cubicBezTo>
                    <a:pt x="1093449" y="556322"/>
                    <a:pt x="1108629" y="541142"/>
                    <a:pt x="1108629" y="522092"/>
                  </a:cubicBezTo>
                  <a:lnTo>
                    <a:pt x="1108629" y="365821"/>
                  </a:lnTo>
                  <a:cubicBezTo>
                    <a:pt x="1112499" y="194222"/>
                    <a:pt x="1005938" y="53283"/>
                    <a:pt x="853538" y="0"/>
                  </a:cubicBezTo>
                  <a:close/>
                </a:path>
              </a:pathLst>
            </a:custGeom>
            <a:grpFill/>
            <a:ln w="381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E700D46-29FC-EEE7-34D5-C3F3711914FE}"/>
                </a:ext>
              </a:extLst>
            </p:cNvPr>
            <p:cNvSpPr/>
            <p:nvPr/>
          </p:nvSpPr>
          <p:spPr>
            <a:xfrm>
              <a:off x="-4298319"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0F5FF594-6EF6-2EE3-2568-A1CC9B654DB8}"/>
                </a:ext>
              </a:extLst>
            </p:cNvPr>
            <p:cNvSpPr/>
            <p:nvPr/>
          </p:nvSpPr>
          <p:spPr>
            <a:xfrm>
              <a:off x="-2061895" y="2883963"/>
              <a:ext cx="1108629" cy="556322"/>
            </a:xfrm>
            <a:custGeom>
              <a:avLst/>
              <a:gdLst>
                <a:gd name="connsiteX0" fmla="*/ 849660 w 1108629"/>
                <a:gd name="connsiteY0" fmla="*/ 0 h 556322"/>
                <a:gd name="connsiteX1" fmla="*/ 552450 w 1108629"/>
                <a:gd name="connsiteY1" fmla="*/ 95250 h 556322"/>
                <a:gd name="connsiteX2" fmla="*/ 255239 w 1108629"/>
                <a:gd name="connsiteY2" fmla="*/ 0 h 556322"/>
                <a:gd name="connsiteX3" fmla="*/ 0 w 1108629"/>
                <a:gd name="connsiteY3" fmla="*/ 365821 h 556322"/>
                <a:gd name="connsiteX4" fmla="*/ 0 w 1108629"/>
                <a:gd name="connsiteY4" fmla="*/ 522092 h 556322"/>
                <a:gd name="connsiteX5" fmla="*/ 34230 w 1108629"/>
                <a:gd name="connsiteY5" fmla="*/ 556322 h 556322"/>
                <a:gd name="connsiteX6" fmla="*/ 1074399 w 1108629"/>
                <a:gd name="connsiteY6" fmla="*/ 556322 h 556322"/>
                <a:gd name="connsiteX7" fmla="*/ 1108629 w 1108629"/>
                <a:gd name="connsiteY7" fmla="*/ 522092 h 556322"/>
                <a:gd name="connsiteX8" fmla="*/ 1108629 w 1108629"/>
                <a:gd name="connsiteY8" fmla="*/ 365821 h 556322"/>
                <a:gd name="connsiteX9" fmla="*/ 849667 w 1108629"/>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629" h="556322">
                  <a:moveTo>
                    <a:pt x="849660" y="0"/>
                  </a:moveTo>
                  <a:cubicBezTo>
                    <a:pt x="765871" y="57150"/>
                    <a:pt x="663031" y="95250"/>
                    <a:pt x="552450" y="95250"/>
                  </a:cubicBezTo>
                  <a:cubicBezTo>
                    <a:pt x="442021" y="95250"/>
                    <a:pt x="339029" y="61019"/>
                    <a:pt x="255239" y="0"/>
                  </a:cubicBezTo>
                  <a:cubicBezTo>
                    <a:pt x="106710" y="53279"/>
                    <a:pt x="0" y="198089"/>
                    <a:pt x="0" y="365821"/>
                  </a:cubicBezTo>
                  <a:lnTo>
                    <a:pt x="0" y="522092"/>
                  </a:lnTo>
                  <a:cubicBezTo>
                    <a:pt x="0" y="541142"/>
                    <a:pt x="15180" y="556322"/>
                    <a:pt x="34230" y="556322"/>
                  </a:cubicBezTo>
                  <a:lnTo>
                    <a:pt x="1074399" y="556322"/>
                  </a:lnTo>
                  <a:cubicBezTo>
                    <a:pt x="1093449" y="556322"/>
                    <a:pt x="1108629" y="541142"/>
                    <a:pt x="1108629" y="522092"/>
                  </a:cubicBezTo>
                  <a:lnTo>
                    <a:pt x="1108629" y="365821"/>
                  </a:lnTo>
                  <a:cubicBezTo>
                    <a:pt x="1108778" y="194222"/>
                    <a:pt x="1002067" y="53283"/>
                    <a:pt x="849667" y="0"/>
                  </a:cubicBezTo>
                  <a:close/>
                </a:path>
              </a:pathLst>
            </a:custGeom>
            <a:grpFill/>
            <a:ln w="381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57578536-7EF9-6E1F-8BB7-CA13A33277BC}"/>
                </a:ext>
              </a:extLst>
            </p:cNvPr>
            <p:cNvSpPr/>
            <p:nvPr/>
          </p:nvSpPr>
          <p:spPr>
            <a:xfrm>
              <a:off x="-1844755"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3BE3328-15F9-3CB5-5C2D-F4C2BF1C181E}"/>
                </a:ext>
              </a:extLst>
            </p:cNvPr>
            <p:cNvSpPr/>
            <p:nvPr/>
          </p:nvSpPr>
          <p:spPr>
            <a:xfrm>
              <a:off x="-3072296" y="2367670"/>
              <a:ext cx="672055" cy="647859"/>
            </a:xfrm>
            <a:custGeom>
              <a:avLst/>
              <a:gdLst>
                <a:gd name="connsiteX0" fmla="*/ 656025 w 672055"/>
                <a:gd name="connsiteY0" fmla="*/ 295275 h 647859"/>
                <a:gd name="connsiteX1" fmla="*/ 629385 w 672055"/>
                <a:gd name="connsiteY1" fmla="*/ 211485 h 647859"/>
                <a:gd name="connsiteX2" fmla="*/ 469395 w 672055"/>
                <a:gd name="connsiteY2" fmla="*/ 192435 h 647859"/>
                <a:gd name="connsiteX3" fmla="*/ 446476 w 672055"/>
                <a:gd name="connsiteY3" fmla="*/ 173385 h 647859"/>
                <a:gd name="connsiteX4" fmla="*/ 381736 w 672055"/>
                <a:gd name="connsiteY4" fmla="*/ 28575 h 647859"/>
                <a:gd name="connsiteX5" fmla="*/ 290357 w 672055"/>
                <a:gd name="connsiteY5" fmla="*/ 28575 h 647859"/>
                <a:gd name="connsiteX6" fmla="*/ 225618 w 672055"/>
                <a:gd name="connsiteY6" fmla="*/ 173385 h 647859"/>
                <a:gd name="connsiteX7" fmla="*/ 202698 w 672055"/>
                <a:gd name="connsiteY7" fmla="*/ 192435 h 647859"/>
                <a:gd name="connsiteX8" fmla="*/ 42709 w 672055"/>
                <a:gd name="connsiteY8" fmla="*/ 211485 h 647859"/>
                <a:gd name="connsiteX9" fmla="*/ 16068 w 672055"/>
                <a:gd name="connsiteY9" fmla="*/ 295275 h 647859"/>
                <a:gd name="connsiteX10" fmla="*/ 134239 w 672055"/>
                <a:gd name="connsiteY10" fmla="*/ 401985 h 647859"/>
                <a:gd name="connsiteX11" fmla="*/ 141830 w 672055"/>
                <a:gd name="connsiteY11" fmla="*/ 432495 h 647859"/>
                <a:gd name="connsiteX12" fmla="*/ 111320 w 672055"/>
                <a:gd name="connsiteY12" fmla="*/ 588766 h 647859"/>
                <a:gd name="connsiteX13" fmla="*/ 183649 w 672055"/>
                <a:gd name="connsiteY13" fmla="*/ 642045 h 647859"/>
                <a:gd name="connsiteX14" fmla="*/ 320870 w 672055"/>
                <a:gd name="connsiteY14" fmla="*/ 561974 h 647859"/>
                <a:gd name="connsiteX15" fmla="*/ 351380 w 672055"/>
                <a:gd name="connsiteY15" fmla="*/ 561974 h 647859"/>
                <a:gd name="connsiteX16" fmla="*/ 488601 w 672055"/>
                <a:gd name="connsiteY16" fmla="*/ 642045 h 647859"/>
                <a:gd name="connsiteX17" fmla="*/ 560930 w 672055"/>
                <a:gd name="connsiteY17" fmla="*/ 588766 h 647859"/>
                <a:gd name="connsiteX18" fmla="*/ 530420 w 672055"/>
                <a:gd name="connsiteY18" fmla="*/ 432495 h 647859"/>
                <a:gd name="connsiteX19" fmla="*/ 538010 w 672055"/>
                <a:gd name="connsiteY19" fmla="*/ 401985 h 64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055" h="647859">
                  <a:moveTo>
                    <a:pt x="656025" y="295275"/>
                  </a:moveTo>
                  <a:cubicBezTo>
                    <a:pt x="686535" y="264765"/>
                    <a:pt x="671206" y="215204"/>
                    <a:pt x="629385" y="211485"/>
                  </a:cubicBezTo>
                  <a:lnTo>
                    <a:pt x="469395" y="192435"/>
                  </a:lnTo>
                  <a:cubicBezTo>
                    <a:pt x="457935" y="192435"/>
                    <a:pt x="450345" y="184845"/>
                    <a:pt x="446476" y="173385"/>
                  </a:cubicBezTo>
                  <a:lnTo>
                    <a:pt x="381736" y="28575"/>
                  </a:lnTo>
                  <a:cubicBezTo>
                    <a:pt x="362686" y="-9525"/>
                    <a:pt x="309407" y="-9525"/>
                    <a:pt x="290357" y="28575"/>
                  </a:cubicBezTo>
                  <a:lnTo>
                    <a:pt x="225618" y="173385"/>
                  </a:lnTo>
                  <a:cubicBezTo>
                    <a:pt x="221748" y="184845"/>
                    <a:pt x="210437" y="188566"/>
                    <a:pt x="202698" y="192435"/>
                  </a:cubicBezTo>
                  <a:lnTo>
                    <a:pt x="42709" y="211485"/>
                  </a:lnTo>
                  <a:cubicBezTo>
                    <a:pt x="738" y="215355"/>
                    <a:pt x="-14441" y="268635"/>
                    <a:pt x="16068" y="295275"/>
                  </a:cubicBezTo>
                  <a:lnTo>
                    <a:pt x="134239" y="401985"/>
                  </a:lnTo>
                  <a:cubicBezTo>
                    <a:pt x="141830" y="409576"/>
                    <a:pt x="145699" y="421035"/>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5"/>
                    <a:pt x="560930" y="588766"/>
                  </a:cubicBezTo>
                  <a:lnTo>
                    <a:pt x="530420" y="432495"/>
                  </a:lnTo>
                  <a:cubicBezTo>
                    <a:pt x="526551" y="421035"/>
                    <a:pt x="530420" y="409576"/>
                    <a:pt x="538010" y="401985"/>
                  </a:cubicBezTo>
                  <a:close/>
                </a:path>
              </a:pathLst>
            </a:custGeom>
            <a:grpFill/>
            <a:ln w="381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A054DE88-B5D1-9830-6CB8-A8C39977BACC}"/>
                </a:ext>
              </a:extLst>
            </p:cNvPr>
            <p:cNvSpPr/>
            <p:nvPr/>
          </p:nvSpPr>
          <p:spPr>
            <a:xfrm>
              <a:off x="-2630260" y="1681877"/>
              <a:ext cx="675927" cy="647860"/>
            </a:xfrm>
            <a:custGeom>
              <a:avLst/>
              <a:gdLst>
                <a:gd name="connsiteX0" fmla="*/ 541725 w 675927"/>
                <a:gd name="connsiteY0" fmla="*/ 401986 h 647860"/>
                <a:gd name="connsiteX1" fmla="*/ 659896 w 675927"/>
                <a:gd name="connsiteY1" fmla="*/ 295275 h 647860"/>
                <a:gd name="connsiteX2" fmla="*/ 633256 w 675927"/>
                <a:gd name="connsiteY2" fmla="*/ 211486 h 647860"/>
                <a:gd name="connsiteX3" fmla="*/ 473266 w 675927"/>
                <a:gd name="connsiteY3" fmla="*/ 192436 h 647860"/>
                <a:gd name="connsiteX4" fmla="*/ 450347 w 675927"/>
                <a:gd name="connsiteY4" fmla="*/ 173386 h 647860"/>
                <a:gd name="connsiteX5" fmla="*/ 381736 w 675927"/>
                <a:gd name="connsiteY5" fmla="*/ 28575 h 647860"/>
                <a:gd name="connsiteX6" fmla="*/ 290357 w 675927"/>
                <a:gd name="connsiteY6" fmla="*/ 28575 h 647860"/>
                <a:gd name="connsiteX7" fmla="*/ 225618 w 675927"/>
                <a:gd name="connsiteY7" fmla="*/ 173386 h 647860"/>
                <a:gd name="connsiteX8" fmla="*/ 202698 w 675927"/>
                <a:gd name="connsiteY8" fmla="*/ 192436 h 647860"/>
                <a:gd name="connsiteX9" fmla="*/ 42709 w 675927"/>
                <a:gd name="connsiteY9" fmla="*/ 211486 h 647860"/>
                <a:gd name="connsiteX10" fmla="*/ 16068 w 675927"/>
                <a:gd name="connsiteY10" fmla="*/ 295275 h 647860"/>
                <a:gd name="connsiteX11" fmla="*/ 134239 w 675927"/>
                <a:gd name="connsiteY11" fmla="*/ 401986 h 647860"/>
                <a:gd name="connsiteX12" fmla="*/ 141830 w 675927"/>
                <a:gd name="connsiteY12" fmla="*/ 432495 h 647860"/>
                <a:gd name="connsiteX13" fmla="*/ 111320 w 675927"/>
                <a:gd name="connsiteY13" fmla="*/ 588766 h 647860"/>
                <a:gd name="connsiteX14" fmla="*/ 183649 w 675927"/>
                <a:gd name="connsiteY14" fmla="*/ 642045 h 647860"/>
                <a:gd name="connsiteX15" fmla="*/ 320870 w 675927"/>
                <a:gd name="connsiteY15" fmla="*/ 561974 h 647860"/>
                <a:gd name="connsiteX16" fmla="*/ 351380 w 675927"/>
                <a:gd name="connsiteY16" fmla="*/ 561974 h 647860"/>
                <a:gd name="connsiteX17" fmla="*/ 488601 w 675927"/>
                <a:gd name="connsiteY17" fmla="*/ 642045 h 647860"/>
                <a:gd name="connsiteX18" fmla="*/ 560930 w 675927"/>
                <a:gd name="connsiteY18" fmla="*/ 588766 h 647860"/>
                <a:gd name="connsiteX19" fmla="*/ 530420 w 675927"/>
                <a:gd name="connsiteY19" fmla="*/ 432495 h 647860"/>
                <a:gd name="connsiteX20" fmla="*/ 541731 w 675927"/>
                <a:gd name="connsiteY20" fmla="*/ 401986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7" h="647860">
                  <a:moveTo>
                    <a:pt x="541725" y="401986"/>
                  </a:moveTo>
                  <a:lnTo>
                    <a:pt x="659896" y="295275"/>
                  </a:lnTo>
                  <a:cubicBezTo>
                    <a:pt x="690406" y="268635"/>
                    <a:pt x="675077"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6"/>
                    <a:pt x="560930" y="588766"/>
                  </a:cubicBezTo>
                  <a:lnTo>
                    <a:pt x="530420" y="432495"/>
                  </a:lnTo>
                  <a:cubicBezTo>
                    <a:pt x="530271" y="421036"/>
                    <a:pt x="534141" y="409576"/>
                    <a:pt x="541731" y="401986"/>
                  </a:cubicBezTo>
                  <a:close/>
                </a:path>
              </a:pathLst>
            </a:custGeom>
            <a:grpFill/>
            <a:ln w="381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C818E270-CDEA-1521-B447-051D5B431764}"/>
                </a:ext>
              </a:extLst>
            </p:cNvPr>
            <p:cNvSpPr/>
            <p:nvPr/>
          </p:nvSpPr>
          <p:spPr>
            <a:xfrm>
              <a:off x="-3518011" y="1681870"/>
              <a:ext cx="675926" cy="647860"/>
            </a:xfrm>
            <a:custGeom>
              <a:avLst/>
              <a:gdLst>
                <a:gd name="connsiteX0" fmla="*/ 355094 w 675926"/>
                <a:gd name="connsiteY0" fmla="*/ 561974 h 647860"/>
                <a:gd name="connsiteX1" fmla="*/ 492315 w 675926"/>
                <a:gd name="connsiteY1" fmla="*/ 642045 h 647860"/>
                <a:gd name="connsiteX2" fmla="*/ 564644 w 675926"/>
                <a:gd name="connsiteY2" fmla="*/ 588766 h 647860"/>
                <a:gd name="connsiteX3" fmla="*/ 534135 w 675926"/>
                <a:gd name="connsiteY3" fmla="*/ 432495 h 647860"/>
                <a:gd name="connsiteX4" fmla="*/ 541725 w 675926"/>
                <a:gd name="connsiteY4" fmla="*/ 401986 h 647860"/>
                <a:gd name="connsiteX5" fmla="*/ 659896 w 675926"/>
                <a:gd name="connsiteY5" fmla="*/ 295275 h 647860"/>
                <a:gd name="connsiteX6" fmla="*/ 633256 w 675926"/>
                <a:gd name="connsiteY6" fmla="*/ 211486 h 647860"/>
                <a:gd name="connsiteX7" fmla="*/ 473266 w 675926"/>
                <a:gd name="connsiteY7" fmla="*/ 192436 h 647860"/>
                <a:gd name="connsiteX8" fmla="*/ 450347 w 675926"/>
                <a:gd name="connsiteY8" fmla="*/ 173386 h 647860"/>
                <a:gd name="connsiteX9" fmla="*/ 381736 w 675926"/>
                <a:gd name="connsiteY9" fmla="*/ 28575 h 647860"/>
                <a:gd name="connsiteX10" fmla="*/ 290357 w 675926"/>
                <a:gd name="connsiteY10" fmla="*/ 28575 h 647860"/>
                <a:gd name="connsiteX11" fmla="*/ 225618 w 675926"/>
                <a:gd name="connsiteY11" fmla="*/ 173386 h 647860"/>
                <a:gd name="connsiteX12" fmla="*/ 202698 w 675926"/>
                <a:gd name="connsiteY12" fmla="*/ 192436 h 647860"/>
                <a:gd name="connsiteX13" fmla="*/ 42709 w 675926"/>
                <a:gd name="connsiteY13" fmla="*/ 211486 h 647860"/>
                <a:gd name="connsiteX14" fmla="*/ 16068 w 675926"/>
                <a:gd name="connsiteY14" fmla="*/ 295275 h 647860"/>
                <a:gd name="connsiteX15" fmla="*/ 134239 w 675926"/>
                <a:gd name="connsiteY15" fmla="*/ 401986 h 647860"/>
                <a:gd name="connsiteX16" fmla="*/ 141830 w 675926"/>
                <a:gd name="connsiteY16" fmla="*/ 432495 h 647860"/>
                <a:gd name="connsiteX17" fmla="*/ 111320 w 675926"/>
                <a:gd name="connsiteY17" fmla="*/ 588766 h 647860"/>
                <a:gd name="connsiteX18" fmla="*/ 183649 w 675926"/>
                <a:gd name="connsiteY18" fmla="*/ 642045 h 647860"/>
                <a:gd name="connsiteX19" fmla="*/ 324589 w 675926"/>
                <a:gd name="connsiteY19" fmla="*/ 561974 h 647860"/>
                <a:gd name="connsiteX20" fmla="*/ 355098 w 675926"/>
                <a:gd name="connsiteY20" fmla="*/ 561974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6" h="647860">
                  <a:moveTo>
                    <a:pt x="355094" y="561974"/>
                  </a:moveTo>
                  <a:lnTo>
                    <a:pt x="492315" y="642045"/>
                  </a:lnTo>
                  <a:cubicBezTo>
                    <a:pt x="530415" y="661095"/>
                    <a:pt x="572386" y="630586"/>
                    <a:pt x="564644" y="588766"/>
                  </a:cubicBezTo>
                  <a:lnTo>
                    <a:pt x="534135" y="432495"/>
                  </a:lnTo>
                  <a:cubicBezTo>
                    <a:pt x="530265" y="421036"/>
                    <a:pt x="534135" y="409576"/>
                    <a:pt x="541725" y="401986"/>
                  </a:cubicBezTo>
                  <a:lnTo>
                    <a:pt x="659896" y="295275"/>
                  </a:lnTo>
                  <a:cubicBezTo>
                    <a:pt x="690406" y="268635"/>
                    <a:pt x="675076"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0" y="661095"/>
                    <a:pt x="183649" y="642045"/>
                  </a:cubicBezTo>
                  <a:lnTo>
                    <a:pt x="324589" y="561974"/>
                  </a:lnTo>
                  <a:cubicBezTo>
                    <a:pt x="332179" y="558105"/>
                    <a:pt x="343639" y="558105"/>
                    <a:pt x="355098" y="561974"/>
                  </a:cubicBezTo>
                  <a:close/>
                </a:path>
              </a:pathLst>
            </a:custGeom>
            <a:grpFill/>
            <a:ln w="38100" cap="flat">
              <a:noFill/>
              <a:prstDash val="solid"/>
              <a:miter/>
            </a:ln>
          </p:spPr>
          <p:txBody>
            <a:bodyPr rtlCol="0" anchor="ctr"/>
            <a:lstStyle/>
            <a:p>
              <a:endParaRPr lang="en-US"/>
            </a:p>
          </p:txBody>
        </p:sp>
      </p:grpSp>
      <p:grpSp>
        <p:nvGrpSpPr>
          <p:cNvPr id="81" name="Group 80">
            <a:extLst>
              <a:ext uri="{FF2B5EF4-FFF2-40B4-BE49-F238E27FC236}">
                <a16:creationId xmlns:a16="http://schemas.microsoft.com/office/drawing/2014/main" id="{E4820AD2-0383-C9FD-46D6-C48700D90D7F}"/>
              </a:ext>
            </a:extLst>
          </p:cNvPr>
          <p:cNvGrpSpPr/>
          <p:nvPr/>
        </p:nvGrpSpPr>
        <p:grpSpPr>
          <a:xfrm>
            <a:off x="769134" y="2347435"/>
            <a:ext cx="387260" cy="351593"/>
            <a:chOff x="-4111053" y="2298688"/>
            <a:chExt cx="3094119" cy="2809151"/>
          </a:xfrm>
          <a:solidFill>
            <a:schemeClr val="bg1"/>
          </a:solidFill>
        </p:grpSpPr>
        <p:sp>
          <p:nvSpPr>
            <p:cNvPr id="75" name="Freeform: Shape 74">
              <a:extLst>
                <a:ext uri="{FF2B5EF4-FFF2-40B4-BE49-F238E27FC236}">
                  <a16:creationId xmlns:a16="http://schemas.microsoft.com/office/drawing/2014/main" id="{60468F57-59EF-ECF2-6A4E-976DF1E4BFB3}"/>
                </a:ext>
              </a:extLst>
            </p:cNvPr>
            <p:cNvSpPr/>
            <p:nvPr/>
          </p:nvSpPr>
          <p:spPr>
            <a:xfrm>
              <a:off x="-3716814" y="3995929"/>
              <a:ext cx="434416" cy="1111910"/>
            </a:xfrm>
            <a:custGeom>
              <a:avLst/>
              <a:gdLst>
                <a:gd name="connsiteX0" fmla="*/ 0 w 434416"/>
                <a:gd name="connsiteY0" fmla="*/ 0 h 1111910"/>
                <a:gd name="connsiteX1" fmla="*/ 434416 w 434416"/>
                <a:gd name="connsiteY1" fmla="*/ 0 h 1111910"/>
                <a:gd name="connsiteX2" fmla="*/ 434416 w 434416"/>
                <a:gd name="connsiteY2" fmla="*/ 1111910 h 1111910"/>
                <a:gd name="connsiteX3" fmla="*/ 0 w 434416"/>
                <a:gd name="connsiteY3" fmla="*/ 1111910 h 1111910"/>
              </a:gdLst>
              <a:ahLst/>
              <a:cxnLst>
                <a:cxn ang="0">
                  <a:pos x="connsiteX0" y="connsiteY0"/>
                </a:cxn>
                <a:cxn ang="0">
                  <a:pos x="connsiteX1" y="connsiteY1"/>
                </a:cxn>
                <a:cxn ang="0">
                  <a:pos x="connsiteX2" y="connsiteY2"/>
                </a:cxn>
                <a:cxn ang="0">
                  <a:pos x="connsiteX3" y="connsiteY3"/>
                </a:cxn>
              </a:cxnLst>
              <a:rect l="l" t="t" r="r" b="b"/>
              <a:pathLst>
                <a:path w="434416" h="1111910">
                  <a:moveTo>
                    <a:pt x="0" y="0"/>
                  </a:moveTo>
                  <a:lnTo>
                    <a:pt x="434416" y="0"/>
                  </a:lnTo>
                  <a:lnTo>
                    <a:pt x="434416" y="1111910"/>
                  </a:lnTo>
                  <a:lnTo>
                    <a:pt x="0" y="1111910"/>
                  </a:lnTo>
                  <a:close/>
                </a:path>
              </a:pathLst>
            </a:custGeom>
            <a:grpFill/>
            <a:ln w="381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F04CE10-FAAC-BD5E-EA56-C775CB9A23E0}"/>
                </a:ext>
              </a:extLst>
            </p:cNvPr>
            <p:cNvSpPr/>
            <p:nvPr/>
          </p:nvSpPr>
          <p:spPr>
            <a:xfrm>
              <a:off x="-2961520" y="3703169"/>
              <a:ext cx="434263" cy="1404632"/>
            </a:xfrm>
            <a:custGeom>
              <a:avLst/>
              <a:gdLst>
                <a:gd name="connsiteX0" fmla="*/ 0 w 434263"/>
                <a:gd name="connsiteY0" fmla="*/ 0 h 1404632"/>
                <a:gd name="connsiteX1" fmla="*/ 434264 w 434263"/>
                <a:gd name="connsiteY1" fmla="*/ 0 h 1404632"/>
                <a:gd name="connsiteX2" fmla="*/ 434264 w 434263"/>
                <a:gd name="connsiteY2" fmla="*/ 1404633 h 1404632"/>
                <a:gd name="connsiteX3" fmla="*/ 0 w 434263"/>
                <a:gd name="connsiteY3" fmla="*/ 1404633 h 1404632"/>
              </a:gdLst>
              <a:ahLst/>
              <a:cxnLst>
                <a:cxn ang="0">
                  <a:pos x="connsiteX0" y="connsiteY0"/>
                </a:cxn>
                <a:cxn ang="0">
                  <a:pos x="connsiteX1" y="connsiteY1"/>
                </a:cxn>
                <a:cxn ang="0">
                  <a:pos x="connsiteX2" y="connsiteY2"/>
                </a:cxn>
                <a:cxn ang="0">
                  <a:pos x="connsiteX3" y="connsiteY3"/>
                </a:cxn>
              </a:cxnLst>
              <a:rect l="l" t="t" r="r" b="b"/>
              <a:pathLst>
                <a:path w="434262" h="1404632">
                  <a:moveTo>
                    <a:pt x="0" y="0"/>
                  </a:moveTo>
                  <a:lnTo>
                    <a:pt x="434264" y="0"/>
                  </a:lnTo>
                  <a:lnTo>
                    <a:pt x="434264" y="1404633"/>
                  </a:lnTo>
                  <a:lnTo>
                    <a:pt x="0" y="1404633"/>
                  </a:lnTo>
                  <a:close/>
                </a:path>
              </a:pathLst>
            </a:custGeom>
            <a:grpFill/>
            <a:ln w="381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6EE888D5-4FD3-2F12-4695-CB2691797A01}"/>
                </a:ext>
              </a:extLst>
            </p:cNvPr>
            <p:cNvSpPr/>
            <p:nvPr/>
          </p:nvSpPr>
          <p:spPr>
            <a:xfrm>
              <a:off x="-2206492" y="2942502"/>
              <a:ext cx="434720" cy="2165299"/>
            </a:xfrm>
            <a:custGeom>
              <a:avLst/>
              <a:gdLst>
                <a:gd name="connsiteX0" fmla="*/ 0 w 434720"/>
                <a:gd name="connsiteY0" fmla="*/ 0 h 2165299"/>
                <a:gd name="connsiteX1" fmla="*/ 434721 w 434720"/>
                <a:gd name="connsiteY1" fmla="*/ 0 h 2165299"/>
                <a:gd name="connsiteX2" fmla="*/ 434721 w 434720"/>
                <a:gd name="connsiteY2" fmla="*/ 2165299 h 2165299"/>
                <a:gd name="connsiteX3" fmla="*/ 0 w 434720"/>
                <a:gd name="connsiteY3" fmla="*/ 2165299 h 2165299"/>
              </a:gdLst>
              <a:ahLst/>
              <a:cxnLst>
                <a:cxn ang="0">
                  <a:pos x="connsiteX0" y="connsiteY0"/>
                </a:cxn>
                <a:cxn ang="0">
                  <a:pos x="connsiteX1" y="connsiteY1"/>
                </a:cxn>
                <a:cxn ang="0">
                  <a:pos x="connsiteX2" y="connsiteY2"/>
                </a:cxn>
                <a:cxn ang="0">
                  <a:pos x="connsiteX3" y="connsiteY3"/>
                </a:cxn>
              </a:cxnLst>
              <a:rect l="l" t="t" r="r" b="b"/>
              <a:pathLst>
                <a:path w="434720" h="2165299">
                  <a:moveTo>
                    <a:pt x="0" y="0"/>
                  </a:moveTo>
                  <a:lnTo>
                    <a:pt x="434721" y="0"/>
                  </a:lnTo>
                  <a:lnTo>
                    <a:pt x="434721" y="2165299"/>
                  </a:lnTo>
                  <a:lnTo>
                    <a:pt x="0" y="2165299"/>
                  </a:lnTo>
                  <a:close/>
                </a:path>
              </a:pathLst>
            </a:custGeom>
            <a:grpFill/>
            <a:ln w="381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2E64E165-728B-4A7D-66B4-E5373044EFAD}"/>
                </a:ext>
              </a:extLst>
            </p:cNvPr>
            <p:cNvSpPr/>
            <p:nvPr/>
          </p:nvSpPr>
          <p:spPr>
            <a:xfrm>
              <a:off x="-1451350" y="2298688"/>
              <a:ext cx="434416" cy="2809112"/>
            </a:xfrm>
            <a:custGeom>
              <a:avLst/>
              <a:gdLst>
                <a:gd name="connsiteX0" fmla="*/ 0 w 434416"/>
                <a:gd name="connsiteY0" fmla="*/ 0 h 2809112"/>
                <a:gd name="connsiteX1" fmla="*/ 434416 w 434416"/>
                <a:gd name="connsiteY1" fmla="*/ 0 h 2809112"/>
                <a:gd name="connsiteX2" fmla="*/ 434416 w 434416"/>
                <a:gd name="connsiteY2" fmla="*/ 2809113 h 2809112"/>
                <a:gd name="connsiteX3" fmla="*/ 0 w 434416"/>
                <a:gd name="connsiteY3" fmla="*/ 2809113 h 2809112"/>
              </a:gdLst>
              <a:ahLst/>
              <a:cxnLst>
                <a:cxn ang="0">
                  <a:pos x="connsiteX0" y="connsiteY0"/>
                </a:cxn>
                <a:cxn ang="0">
                  <a:pos x="connsiteX1" y="connsiteY1"/>
                </a:cxn>
                <a:cxn ang="0">
                  <a:pos x="connsiteX2" y="connsiteY2"/>
                </a:cxn>
                <a:cxn ang="0">
                  <a:pos x="connsiteX3" y="connsiteY3"/>
                </a:cxn>
              </a:cxnLst>
              <a:rect l="l" t="t" r="r" b="b"/>
              <a:pathLst>
                <a:path w="434416" h="2809112">
                  <a:moveTo>
                    <a:pt x="0" y="0"/>
                  </a:moveTo>
                  <a:lnTo>
                    <a:pt x="434416" y="0"/>
                  </a:lnTo>
                  <a:lnTo>
                    <a:pt x="434416" y="2809113"/>
                  </a:lnTo>
                  <a:lnTo>
                    <a:pt x="0" y="2809113"/>
                  </a:lnTo>
                  <a:close/>
                </a:path>
              </a:pathLst>
            </a:custGeom>
            <a:grpFill/>
            <a:ln w="381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44B4AD1C-067E-6423-CE2D-D68195E7A96B}"/>
                </a:ext>
              </a:extLst>
            </p:cNvPr>
            <p:cNvSpPr/>
            <p:nvPr/>
          </p:nvSpPr>
          <p:spPr>
            <a:xfrm>
              <a:off x="-4111053" y="2503758"/>
              <a:ext cx="1223218" cy="1223664"/>
            </a:xfrm>
            <a:custGeom>
              <a:avLst/>
              <a:gdLst>
                <a:gd name="connsiteX0" fmla="*/ 1223219 w 1223218"/>
                <a:gd name="connsiteY0" fmla="*/ 507058 h 1223664"/>
                <a:gd name="connsiteX1" fmla="*/ 1117998 w 1223218"/>
                <a:gd name="connsiteY1" fmla="*/ 253007 h 1223664"/>
                <a:gd name="connsiteX2" fmla="*/ 1000722 w 1223218"/>
                <a:gd name="connsiteY2" fmla="*/ 326826 h 1223664"/>
                <a:gd name="connsiteX3" fmla="*/ 896393 w 1223218"/>
                <a:gd name="connsiteY3" fmla="*/ 222496 h 1223664"/>
                <a:gd name="connsiteX4" fmla="*/ 970360 w 1223218"/>
                <a:gd name="connsiteY4" fmla="*/ 105221 h 1223664"/>
                <a:gd name="connsiteX5" fmla="*/ 716013 w 1223218"/>
                <a:gd name="connsiteY5" fmla="*/ 0 h 1223664"/>
                <a:gd name="connsiteX6" fmla="*/ 685354 w 1223218"/>
                <a:gd name="connsiteY6" fmla="*/ 135137 h 1223664"/>
                <a:gd name="connsiteX7" fmla="*/ 537716 w 1223218"/>
                <a:gd name="connsiteY7" fmla="*/ 135137 h 1223664"/>
                <a:gd name="connsiteX8" fmla="*/ 507058 w 1223218"/>
                <a:gd name="connsiteY8" fmla="*/ 0 h 1223664"/>
                <a:gd name="connsiteX9" fmla="*/ 252710 w 1223218"/>
                <a:gd name="connsiteY9" fmla="*/ 105221 h 1223664"/>
                <a:gd name="connsiteX10" fmla="*/ 326826 w 1223218"/>
                <a:gd name="connsiteY10" fmla="*/ 222496 h 1223664"/>
                <a:gd name="connsiteX11" fmla="*/ 222496 w 1223218"/>
                <a:gd name="connsiteY11" fmla="*/ 326826 h 1223664"/>
                <a:gd name="connsiteX12" fmla="*/ 105221 w 1223218"/>
                <a:gd name="connsiteY12" fmla="*/ 252858 h 1223664"/>
                <a:gd name="connsiteX13" fmla="*/ 0 w 1223218"/>
                <a:gd name="connsiteY13" fmla="*/ 507058 h 1223664"/>
                <a:gd name="connsiteX14" fmla="*/ 135137 w 1223218"/>
                <a:gd name="connsiteY14" fmla="*/ 537716 h 1223664"/>
                <a:gd name="connsiteX15" fmla="*/ 135137 w 1223218"/>
                <a:gd name="connsiteY15" fmla="*/ 685502 h 1223664"/>
                <a:gd name="connsiteX16" fmla="*/ 0 w 1223218"/>
                <a:gd name="connsiteY16" fmla="*/ 716310 h 1223664"/>
                <a:gd name="connsiteX17" fmla="*/ 105221 w 1223218"/>
                <a:gd name="connsiteY17" fmla="*/ 970509 h 1223664"/>
                <a:gd name="connsiteX18" fmla="*/ 222496 w 1223218"/>
                <a:gd name="connsiteY18" fmla="*/ 896542 h 1223664"/>
                <a:gd name="connsiteX19" fmla="*/ 326677 w 1223218"/>
                <a:gd name="connsiteY19" fmla="*/ 1001020 h 1223664"/>
                <a:gd name="connsiteX20" fmla="*/ 252561 w 1223218"/>
                <a:gd name="connsiteY20" fmla="*/ 1118444 h 1223664"/>
                <a:gd name="connsiteX21" fmla="*/ 506909 w 1223218"/>
                <a:gd name="connsiteY21" fmla="*/ 1223665 h 1223664"/>
                <a:gd name="connsiteX22" fmla="*/ 537568 w 1223218"/>
                <a:gd name="connsiteY22" fmla="*/ 1088528 h 1223664"/>
                <a:gd name="connsiteX23" fmla="*/ 685205 w 1223218"/>
                <a:gd name="connsiteY23" fmla="*/ 1088528 h 1223664"/>
                <a:gd name="connsiteX24" fmla="*/ 715864 w 1223218"/>
                <a:gd name="connsiteY24" fmla="*/ 1223665 h 1223664"/>
                <a:gd name="connsiteX25" fmla="*/ 970212 w 1223218"/>
                <a:gd name="connsiteY25" fmla="*/ 1118444 h 1223664"/>
                <a:gd name="connsiteX26" fmla="*/ 896393 w 1223218"/>
                <a:gd name="connsiteY26" fmla="*/ 1001020 h 1223664"/>
                <a:gd name="connsiteX27" fmla="*/ 1000722 w 1223218"/>
                <a:gd name="connsiteY27" fmla="*/ 896690 h 1223664"/>
                <a:gd name="connsiteX28" fmla="*/ 1117998 w 1223218"/>
                <a:gd name="connsiteY28" fmla="*/ 970658 h 1223664"/>
                <a:gd name="connsiteX29" fmla="*/ 1223219 w 1223218"/>
                <a:gd name="connsiteY29" fmla="*/ 716458 h 1223664"/>
                <a:gd name="connsiteX30" fmla="*/ 1088230 w 1223218"/>
                <a:gd name="connsiteY30" fmla="*/ 685651 h 1223664"/>
                <a:gd name="connsiteX31" fmla="*/ 1088230 w 1223218"/>
                <a:gd name="connsiteY31" fmla="*/ 537865 h 1223664"/>
                <a:gd name="connsiteX32" fmla="*/ 611523 w 1223218"/>
                <a:gd name="connsiteY32" fmla="*/ 909775 h 1223664"/>
                <a:gd name="connsiteX33" fmla="*/ 313570 w 1223218"/>
                <a:gd name="connsiteY33" fmla="*/ 611524 h 1223664"/>
                <a:gd name="connsiteX34" fmla="*/ 611523 w 1223218"/>
                <a:gd name="connsiteY34" fmla="*/ 313422 h 1223664"/>
                <a:gd name="connsiteX35" fmla="*/ 909477 w 1223218"/>
                <a:gd name="connsiteY35" fmla="*/ 611524 h 1223664"/>
                <a:gd name="connsiteX36" fmla="*/ 611523 w 1223218"/>
                <a:gd name="connsiteY36" fmla="*/ 909775 h 122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23218" h="1223664">
                  <a:moveTo>
                    <a:pt x="1223219" y="507058"/>
                  </a:moveTo>
                  <a:cubicBezTo>
                    <a:pt x="1207294" y="413595"/>
                    <a:pt x="1170980" y="327271"/>
                    <a:pt x="1117998" y="253007"/>
                  </a:cubicBezTo>
                  <a:lnTo>
                    <a:pt x="1000722" y="326826"/>
                  </a:lnTo>
                  <a:lnTo>
                    <a:pt x="896393" y="222496"/>
                  </a:lnTo>
                  <a:lnTo>
                    <a:pt x="970360" y="105221"/>
                  </a:lnTo>
                  <a:cubicBezTo>
                    <a:pt x="895947" y="52536"/>
                    <a:pt x="809777" y="16074"/>
                    <a:pt x="716013" y="0"/>
                  </a:cubicBezTo>
                  <a:lnTo>
                    <a:pt x="685354" y="135137"/>
                  </a:lnTo>
                  <a:lnTo>
                    <a:pt x="537716" y="135137"/>
                  </a:lnTo>
                  <a:lnTo>
                    <a:pt x="507058" y="0"/>
                  </a:lnTo>
                  <a:cubicBezTo>
                    <a:pt x="413595" y="16074"/>
                    <a:pt x="327271" y="52536"/>
                    <a:pt x="252710" y="105221"/>
                  </a:cubicBezTo>
                  <a:lnTo>
                    <a:pt x="326826" y="222496"/>
                  </a:lnTo>
                  <a:lnTo>
                    <a:pt x="222496" y="326826"/>
                  </a:lnTo>
                  <a:lnTo>
                    <a:pt x="105221" y="252858"/>
                  </a:lnTo>
                  <a:cubicBezTo>
                    <a:pt x="52388" y="327271"/>
                    <a:pt x="16223" y="413595"/>
                    <a:pt x="0" y="507058"/>
                  </a:cubicBezTo>
                  <a:lnTo>
                    <a:pt x="135137" y="537716"/>
                  </a:lnTo>
                  <a:lnTo>
                    <a:pt x="135137" y="685502"/>
                  </a:lnTo>
                  <a:lnTo>
                    <a:pt x="0" y="716310"/>
                  </a:lnTo>
                  <a:cubicBezTo>
                    <a:pt x="16073" y="809773"/>
                    <a:pt x="52388" y="896245"/>
                    <a:pt x="105221" y="970509"/>
                  </a:cubicBezTo>
                  <a:lnTo>
                    <a:pt x="222496" y="896542"/>
                  </a:lnTo>
                  <a:lnTo>
                    <a:pt x="326677" y="1001020"/>
                  </a:lnTo>
                  <a:lnTo>
                    <a:pt x="252561" y="1118444"/>
                  </a:lnTo>
                  <a:cubicBezTo>
                    <a:pt x="327123" y="1171277"/>
                    <a:pt x="413446" y="1207590"/>
                    <a:pt x="506909" y="1223665"/>
                  </a:cubicBezTo>
                  <a:lnTo>
                    <a:pt x="537568" y="1088528"/>
                  </a:lnTo>
                  <a:lnTo>
                    <a:pt x="685205" y="1088528"/>
                  </a:lnTo>
                  <a:lnTo>
                    <a:pt x="715864" y="1223665"/>
                  </a:lnTo>
                  <a:cubicBezTo>
                    <a:pt x="809624" y="1207591"/>
                    <a:pt x="895799" y="1171277"/>
                    <a:pt x="970212" y="1118444"/>
                  </a:cubicBezTo>
                  <a:lnTo>
                    <a:pt x="896393" y="1001020"/>
                  </a:lnTo>
                  <a:lnTo>
                    <a:pt x="1000722" y="896690"/>
                  </a:lnTo>
                  <a:lnTo>
                    <a:pt x="1117998" y="970658"/>
                  </a:lnTo>
                  <a:cubicBezTo>
                    <a:pt x="1170831" y="896245"/>
                    <a:pt x="1207445" y="809921"/>
                    <a:pt x="1223219" y="716458"/>
                  </a:cubicBezTo>
                  <a:lnTo>
                    <a:pt x="1088230" y="685651"/>
                  </a:lnTo>
                  <a:lnTo>
                    <a:pt x="1088230" y="537865"/>
                  </a:lnTo>
                  <a:close/>
                  <a:moveTo>
                    <a:pt x="611523" y="909775"/>
                  </a:moveTo>
                  <a:cubicBezTo>
                    <a:pt x="447068" y="909775"/>
                    <a:pt x="313570" y="776276"/>
                    <a:pt x="313570" y="611524"/>
                  </a:cubicBezTo>
                  <a:cubicBezTo>
                    <a:pt x="313570" y="446921"/>
                    <a:pt x="447068" y="313422"/>
                    <a:pt x="611523" y="313422"/>
                  </a:cubicBezTo>
                  <a:cubicBezTo>
                    <a:pt x="775978" y="313422"/>
                    <a:pt x="909477" y="446921"/>
                    <a:pt x="909477" y="611524"/>
                  </a:cubicBezTo>
                  <a:cubicBezTo>
                    <a:pt x="909477" y="776276"/>
                    <a:pt x="775978" y="909775"/>
                    <a:pt x="611523" y="909775"/>
                  </a:cubicBezTo>
                  <a:close/>
                </a:path>
              </a:pathLst>
            </a:custGeom>
            <a:grpFill/>
            <a:ln w="381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31B8CFFA-1B21-BD2F-062C-7AE3D6184CB9}"/>
                </a:ext>
              </a:extLst>
            </p:cNvPr>
            <p:cNvSpPr/>
            <p:nvPr/>
          </p:nvSpPr>
          <p:spPr>
            <a:xfrm>
              <a:off x="-3672176" y="2942648"/>
              <a:ext cx="345429" cy="345468"/>
            </a:xfrm>
            <a:custGeom>
              <a:avLst/>
              <a:gdLst>
                <a:gd name="connsiteX0" fmla="*/ 345430 w 345429"/>
                <a:gd name="connsiteY0" fmla="*/ 172790 h 345468"/>
                <a:gd name="connsiteX1" fmla="*/ 0 w 345429"/>
                <a:gd name="connsiteY1" fmla="*/ 172790 h 345468"/>
                <a:gd name="connsiteX2" fmla="*/ 345430 w 345429"/>
                <a:gd name="connsiteY2" fmla="*/ 172790 h 345468"/>
              </a:gdLst>
              <a:ahLst/>
              <a:cxnLst>
                <a:cxn ang="0">
                  <a:pos x="connsiteX0" y="connsiteY0"/>
                </a:cxn>
                <a:cxn ang="0">
                  <a:pos x="connsiteX1" y="connsiteY1"/>
                </a:cxn>
                <a:cxn ang="0">
                  <a:pos x="connsiteX2" y="connsiteY2"/>
                </a:cxn>
              </a:cxnLst>
              <a:rect l="l" t="t" r="r" b="b"/>
              <a:pathLst>
                <a:path w="345429" h="345468">
                  <a:moveTo>
                    <a:pt x="345430" y="172790"/>
                  </a:moveTo>
                  <a:cubicBezTo>
                    <a:pt x="345430" y="403029"/>
                    <a:pt x="0" y="403029"/>
                    <a:pt x="0" y="172790"/>
                  </a:cubicBezTo>
                  <a:cubicBezTo>
                    <a:pt x="0" y="-57597"/>
                    <a:pt x="345430" y="-57597"/>
                    <a:pt x="345430" y="172790"/>
                  </a:cubicBezTo>
                </a:path>
              </a:pathLst>
            </a:custGeom>
            <a:grpFill/>
            <a:ln w="38100" cap="flat">
              <a:noFill/>
              <a:prstDash val="solid"/>
              <a:miter/>
            </a:ln>
          </p:spPr>
          <p:txBody>
            <a:bodyPr rtlCol="0" anchor="ctr"/>
            <a:lstStyle/>
            <a:p>
              <a:endParaRPr lang="en-US"/>
            </a:p>
          </p:txBody>
        </p:sp>
      </p:grpSp>
      <p:grpSp>
        <p:nvGrpSpPr>
          <p:cNvPr id="93" name="Group 92">
            <a:extLst>
              <a:ext uri="{FF2B5EF4-FFF2-40B4-BE49-F238E27FC236}">
                <a16:creationId xmlns:a16="http://schemas.microsoft.com/office/drawing/2014/main" id="{68180556-CBB9-1D7F-08F4-855E04B6260A}"/>
              </a:ext>
            </a:extLst>
          </p:cNvPr>
          <p:cNvGrpSpPr/>
          <p:nvPr/>
        </p:nvGrpSpPr>
        <p:grpSpPr>
          <a:xfrm>
            <a:off x="651571" y="4587375"/>
            <a:ext cx="470161" cy="473761"/>
            <a:chOff x="-4674026" y="1955752"/>
            <a:chExt cx="3558002" cy="3585242"/>
          </a:xfrm>
          <a:solidFill>
            <a:schemeClr val="bg1"/>
          </a:solidFill>
        </p:grpSpPr>
        <p:sp>
          <p:nvSpPr>
            <p:cNvPr id="84" name="Freeform: Shape 83">
              <a:extLst>
                <a:ext uri="{FF2B5EF4-FFF2-40B4-BE49-F238E27FC236}">
                  <a16:creationId xmlns:a16="http://schemas.microsoft.com/office/drawing/2014/main" id="{E8002FE4-89FC-2D94-2F28-49F73A93319C}"/>
                </a:ext>
              </a:extLst>
            </p:cNvPr>
            <p:cNvSpPr/>
            <p:nvPr/>
          </p:nvSpPr>
          <p:spPr>
            <a:xfrm>
              <a:off x="-3423854"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DB65DEC5-F237-7F7E-9D03-30C80AE8F970}"/>
                </a:ext>
              </a:extLst>
            </p:cNvPr>
            <p:cNvSpPr/>
            <p:nvPr/>
          </p:nvSpPr>
          <p:spPr>
            <a:xfrm>
              <a:off x="-3423881" y="3503565"/>
              <a:ext cx="715380" cy="714375"/>
            </a:xfrm>
            <a:custGeom>
              <a:avLst/>
              <a:gdLst>
                <a:gd name="connsiteX0" fmla="*/ 601264 w 715380"/>
                <a:gd name="connsiteY0" fmla="*/ 283967 h 714375"/>
                <a:gd name="connsiteX1" fmla="*/ 714375 w 715380"/>
                <a:gd name="connsiteY1" fmla="*/ 201218 h 714375"/>
                <a:gd name="connsiteX2" fmla="*/ 669577 w 715380"/>
                <a:gd name="connsiteY2" fmla="*/ 61170 h 714375"/>
                <a:gd name="connsiteX3" fmla="*/ 535781 w 715380"/>
                <a:gd name="connsiteY3" fmla="*/ 0 h 714375"/>
                <a:gd name="connsiteX4" fmla="*/ 178594 w 715380"/>
                <a:gd name="connsiteY4" fmla="*/ 0 h 714375"/>
                <a:gd name="connsiteX5" fmla="*/ 0 w 715380"/>
                <a:gd name="connsiteY5" fmla="*/ 178594 h 714375"/>
                <a:gd name="connsiteX6" fmla="*/ 0 w 715380"/>
                <a:gd name="connsiteY6" fmla="*/ 535781 h 714375"/>
                <a:gd name="connsiteX7" fmla="*/ 178594 w 715380"/>
                <a:gd name="connsiteY7" fmla="*/ 714375 h 714375"/>
                <a:gd name="connsiteX8" fmla="*/ 358974 w 715380"/>
                <a:gd name="connsiteY8" fmla="*/ 714375 h 714375"/>
                <a:gd name="connsiteX9" fmla="*/ 415530 w 715380"/>
                <a:gd name="connsiteY9" fmla="*/ 516137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0" h="714375">
                  <a:moveTo>
                    <a:pt x="601264" y="283967"/>
                  </a:moveTo>
                  <a:cubicBezTo>
                    <a:pt x="630880" y="246909"/>
                    <a:pt x="669874" y="218332"/>
                    <a:pt x="714375" y="201218"/>
                  </a:cubicBezTo>
                  <a:cubicBezTo>
                    <a:pt x="719733" y="150320"/>
                    <a:pt x="703510" y="99418"/>
                    <a:pt x="669577" y="61170"/>
                  </a:cubicBezTo>
                  <a:cubicBezTo>
                    <a:pt x="635495" y="22921"/>
                    <a:pt x="586976" y="747"/>
                    <a:pt x="535781" y="0"/>
                  </a:cubicBezTo>
                  <a:lnTo>
                    <a:pt x="178594" y="0"/>
                  </a:lnTo>
                  <a:cubicBezTo>
                    <a:pt x="80071" y="298"/>
                    <a:pt x="297" y="80071"/>
                    <a:pt x="0" y="178594"/>
                  </a:cubicBezTo>
                  <a:lnTo>
                    <a:pt x="0" y="535781"/>
                  </a:lnTo>
                  <a:cubicBezTo>
                    <a:pt x="298" y="634304"/>
                    <a:pt x="80071" y="714078"/>
                    <a:pt x="178594" y="714375"/>
                  </a:cubicBezTo>
                  <a:lnTo>
                    <a:pt x="358974" y="714375"/>
                  </a:lnTo>
                  <a:cubicBezTo>
                    <a:pt x="350640" y="643532"/>
                    <a:pt x="371030" y="572094"/>
                    <a:pt x="415530" y="516137"/>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1B79D135-57F7-24C9-9AC6-70C67BC83C9C}"/>
                </a:ext>
              </a:extLst>
            </p:cNvPr>
            <p:cNvSpPr/>
            <p:nvPr/>
          </p:nvSpPr>
          <p:spPr>
            <a:xfrm>
              <a:off x="-4316842"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C450D3A-39D7-6ED1-432A-83B4A5AD7C40}"/>
                </a:ext>
              </a:extLst>
            </p:cNvPr>
            <p:cNvSpPr/>
            <p:nvPr/>
          </p:nvSpPr>
          <p:spPr>
            <a:xfrm>
              <a:off x="-4316842" y="3503572"/>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35D686AE-507B-D3B5-313D-810D170D1CE1}"/>
                </a:ext>
              </a:extLst>
            </p:cNvPr>
            <p:cNvSpPr/>
            <p:nvPr/>
          </p:nvSpPr>
          <p:spPr>
            <a:xfrm>
              <a:off x="-2530905"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8AABCE86-9875-469A-C21C-7248C31B1AF9}"/>
                </a:ext>
              </a:extLst>
            </p:cNvPr>
            <p:cNvSpPr/>
            <p:nvPr/>
          </p:nvSpPr>
          <p:spPr>
            <a:xfrm>
              <a:off x="-4674026" y="1955752"/>
              <a:ext cx="3558002" cy="3452831"/>
            </a:xfrm>
            <a:custGeom>
              <a:avLst/>
              <a:gdLst>
                <a:gd name="connsiteX0" fmla="*/ 3326755 w 3558002"/>
                <a:gd name="connsiteY0" fmla="*/ 1868698 h 3452831"/>
                <a:gd name="connsiteX1" fmla="*/ 3214688 w 3558002"/>
                <a:gd name="connsiteY1" fmla="*/ 1797558 h 3452831"/>
                <a:gd name="connsiteX2" fmla="*/ 3214688 w 3558002"/>
                <a:gd name="connsiteY2" fmla="*/ 595313 h 3452831"/>
                <a:gd name="connsiteX3" fmla="*/ 2976563 w 3558002"/>
                <a:gd name="connsiteY3" fmla="*/ 357188 h 3452831"/>
                <a:gd name="connsiteX4" fmla="*/ 2678906 w 3558002"/>
                <a:gd name="connsiteY4" fmla="*/ 357188 h 3452831"/>
                <a:gd name="connsiteX5" fmla="*/ 2678906 w 3558002"/>
                <a:gd name="connsiteY5" fmla="*/ 178594 h 3452831"/>
                <a:gd name="connsiteX6" fmla="*/ 2500313 w 3558002"/>
                <a:gd name="connsiteY6" fmla="*/ 0 h 3452831"/>
                <a:gd name="connsiteX7" fmla="*/ 2262188 w 3558002"/>
                <a:gd name="connsiteY7" fmla="*/ 0 h 3452831"/>
                <a:gd name="connsiteX8" fmla="*/ 2083594 w 3558002"/>
                <a:gd name="connsiteY8" fmla="*/ 178594 h 3452831"/>
                <a:gd name="connsiteX9" fmla="*/ 2083594 w 3558002"/>
                <a:gd name="connsiteY9" fmla="*/ 357188 h 3452831"/>
                <a:gd name="connsiteX10" fmla="*/ 1131094 w 3558002"/>
                <a:gd name="connsiteY10" fmla="*/ 357188 h 3452831"/>
                <a:gd name="connsiteX11" fmla="*/ 1131094 w 3558002"/>
                <a:gd name="connsiteY11" fmla="*/ 178594 h 3452831"/>
                <a:gd name="connsiteX12" fmla="*/ 952500 w 3558002"/>
                <a:gd name="connsiteY12" fmla="*/ 0 h 3452831"/>
                <a:gd name="connsiteX13" fmla="*/ 714375 w 3558002"/>
                <a:gd name="connsiteY13" fmla="*/ 0 h 3452831"/>
                <a:gd name="connsiteX14" fmla="*/ 535781 w 3558002"/>
                <a:gd name="connsiteY14" fmla="*/ 178594 h 3452831"/>
                <a:gd name="connsiteX15" fmla="*/ 535781 w 3558002"/>
                <a:gd name="connsiteY15" fmla="*/ 357188 h 3452831"/>
                <a:gd name="connsiteX16" fmla="*/ 238125 w 3558002"/>
                <a:gd name="connsiteY16" fmla="*/ 357188 h 3452831"/>
                <a:gd name="connsiteX17" fmla="*/ 0 w 3558002"/>
                <a:gd name="connsiteY17" fmla="*/ 595313 h 3452831"/>
                <a:gd name="connsiteX18" fmla="*/ 0 w 3558002"/>
                <a:gd name="connsiteY18" fmla="*/ 2678926 h 3452831"/>
                <a:gd name="connsiteX19" fmla="*/ 238125 w 3558002"/>
                <a:gd name="connsiteY19" fmla="*/ 2917051 h 3452831"/>
                <a:gd name="connsiteX20" fmla="*/ 1834591 w 3558002"/>
                <a:gd name="connsiteY20" fmla="*/ 2917051 h 3452831"/>
                <a:gd name="connsiteX21" fmla="*/ 2140283 w 3558002"/>
                <a:gd name="connsiteY21" fmla="*/ 3305937 h 3452831"/>
                <a:gd name="connsiteX22" fmla="*/ 2612380 w 3558002"/>
                <a:gd name="connsiteY22" fmla="*/ 3452832 h 3452831"/>
                <a:gd name="connsiteX23" fmla="*/ 3028508 w 3558002"/>
                <a:gd name="connsiteY23" fmla="*/ 1898009 h 3452831"/>
                <a:gd name="connsiteX24" fmla="*/ 3026127 w 3558002"/>
                <a:gd name="connsiteY24" fmla="*/ 1886251 h 3452831"/>
                <a:gd name="connsiteX25" fmla="*/ 2934298 w 3558002"/>
                <a:gd name="connsiteY25" fmla="*/ 1610175 h 3452831"/>
                <a:gd name="connsiteX26" fmla="*/ 2764784 w 3558002"/>
                <a:gd name="connsiteY26" fmla="*/ 1488285 h 3452831"/>
                <a:gd name="connsiteX27" fmla="*/ 2459984 w 3558002"/>
                <a:gd name="connsiteY27" fmla="*/ 1488285 h 3452831"/>
                <a:gd name="connsiteX28" fmla="*/ 2290321 w 3558002"/>
                <a:gd name="connsiteY28" fmla="*/ 1610621 h 3452831"/>
                <a:gd name="connsiteX29" fmla="*/ 2198644 w 3558002"/>
                <a:gd name="connsiteY29" fmla="*/ 1886251 h 3452831"/>
                <a:gd name="connsiteX30" fmla="*/ 2196263 w 3558002"/>
                <a:gd name="connsiteY30" fmla="*/ 1898009 h 3452831"/>
                <a:gd name="connsiteX31" fmla="*/ 1851130 w 3558002"/>
                <a:gd name="connsiteY31" fmla="*/ 2283314 h 3452831"/>
                <a:gd name="connsiteX32" fmla="*/ 1798594 w 3558002"/>
                <a:gd name="connsiteY32" fmla="*/ 2797969 h 3452831"/>
                <a:gd name="connsiteX33" fmla="*/ 238133 w 3558002"/>
                <a:gd name="connsiteY33" fmla="*/ 2797969 h 3452831"/>
                <a:gd name="connsiteX34" fmla="*/ 119070 w 3558002"/>
                <a:gd name="connsiteY34" fmla="*/ 2678906 h 3452831"/>
                <a:gd name="connsiteX35" fmla="*/ 119070 w 3558002"/>
                <a:gd name="connsiteY35" fmla="*/ 595294 h 3452831"/>
                <a:gd name="connsiteX36" fmla="*/ 238133 w 3558002"/>
                <a:gd name="connsiteY36" fmla="*/ 476231 h 3452831"/>
                <a:gd name="connsiteX37" fmla="*/ 2976570 w 3558002"/>
                <a:gd name="connsiteY37" fmla="*/ 476231 h 3452831"/>
                <a:gd name="connsiteX38" fmla="*/ 3095633 w 3558002"/>
                <a:gd name="connsiteY38" fmla="*/ 595294 h 3452831"/>
                <a:gd name="connsiteX39" fmla="*/ 3095633 w 3558002"/>
                <a:gd name="connsiteY39" fmla="*/ 1802301 h 3452831"/>
                <a:gd name="connsiteX40" fmla="*/ 3037443 w 3558002"/>
                <a:gd name="connsiteY40" fmla="*/ 1834151 h 3452831"/>
                <a:gd name="connsiteX41" fmla="*/ 3099801 w 3558002"/>
                <a:gd name="connsiteY41" fmla="*/ 1872399 h 3452831"/>
                <a:gd name="connsiteX42" fmla="*/ 3152931 w 3558002"/>
                <a:gd name="connsiteY42" fmla="*/ 1910499 h 3452831"/>
                <a:gd name="connsiteX43" fmla="*/ 3477376 w 3558002"/>
                <a:gd name="connsiteY43" fmla="*/ 2396122 h 3452831"/>
                <a:gd name="connsiteX44" fmla="*/ 3556551 w 3558002"/>
                <a:gd name="connsiteY44" fmla="*/ 2255925 h 3452831"/>
                <a:gd name="connsiteX45" fmla="*/ 3512500 w 3558002"/>
                <a:gd name="connsiteY45" fmla="*/ 2100847 h 3452831"/>
                <a:gd name="connsiteX46" fmla="*/ 3207692 w 3558002"/>
                <a:gd name="connsiteY46" fmla="*/ 2559871 h 3452831"/>
                <a:gd name="connsiteX47" fmla="*/ 3266332 w 3558002"/>
                <a:gd name="connsiteY47" fmla="*/ 2619402 h 3452831"/>
                <a:gd name="connsiteX48" fmla="*/ 3207692 w 3558002"/>
                <a:gd name="connsiteY48" fmla="*/ 2678933 h 3452831"/>
                <a:gd name="connsiteX49" fmla="*/ 3149053 w 3558002"/>
                <a:gd name="connsiteY49" fmla="*/ 2619402 h 3452831"/>
                <a:gd name="connsiteX50" fmla="*/ 3207692 w 3558002"/>
                <a:gd name="connsiteY50" fmla="*/ 2559871 h 3452831"/>
                <a:gd name="connsiteX51" fmla="*/ 2990999 w 3558002"/>
                <a:gd name="connsiteY51" fmla="*/ 2156239 h 3452831"/>
                <a:gd name="connsiteX52" fmla="*/ 3074640 w 3558002"/>
                <a:gd name="connsiteY52" fmla="*/ 2157132 h 3452831"/>
                <a:gd name="connsiteX53" fmla="*/ 3075533 w 3558002"/>
                <a:gd name="connsiteY53" fmla="*/ 2240773 h 3452831"/>
                <a:gd name="connsiteX54" fmla="*/ 2991892 w 3558002"/>
                <a:gd name="connsiteY54" fmla="*/ 2240029 h 3452831"/>
                <a:gd name="connsiteX55" fmla="*/ 2990999 w 3558002"/>
                <a:gd name="connsiteY55" fmla="*/ 2156239 h 3452831"/>
                <a:gd name="connsiteX56" fmla="*/ 2990999 w 3558002"/>
                <a:gd name="connsiteY56" fmla="*/ 2998021 h 3452831"/>
                <a:gd name="connsiteX57" fmla="*/ 3074640 w 3558002"/>
                <a:gd name="connsiteY57" fmla="*/ 2998914 h 3452831"/>
                <a:gd name="connsiteX58" fmla="*/ 3075533 w 3558002"/>
                <a:gd name="connsiteY58" fmla="*/ 3082703 h 3452831"/>
                <a:gd name="connsiteX59" fmla="*/ 2991892 w 3558002"/>
                <a:gd name="connsiteY59" fmla="*/ 3081810 h 3452831"/>
                <a:gd name="connsiteX60" fmla="*/ 2990999 w 3558002"/>
                <a:gd name="connsiteY60" fmla="*/ 2998021 h 3452831"/>
                <a:gd name="connsiteX61" fmla="*/ 2612380 w 3558002"/>
                <a:gd name="connsiteY61" fmla="*/ 3274246 h 3452831"/>
                <a:gd name="connsiteX62" fmla="*/ 2553740 w 3558002"/>
                <a:gd name="connsiteY62" fmla="*/ 3214714 h 3452831"/>
                <a:gd name="connsiteX63" fmla="*/ 2612380 w 3558002"/>
                <a:gd name="connsiteY63" fmla="*/ 3155183 h 3452831"/>
                <a:gd name="connsiteX64" fmla="*/ 2671020 w 3558002"/>
                <a:gd name="connsiteY64" fmla="*/ 3214714 h 3452831"/>
                <a:gd name="connsiteX65" fmla="*/ 2612380 w 3558002"/>
                <a:gd name="connsiteY65" fmla="*/ 3274246 h 3452831"/>
                <a:gd name="connsiteX66" fmla="*/ 2403276 w 3558002"/>
                <a:gd name="connsiteY66" fmla="*/ 1648747 h 3452831"/>
                <a:gd name="connsiteX67" fmla="*/ 2459980 w 3558002"/>
                <a:gd name="connsiteY67" fmla="*/ 1607374 h 3452831"/>
                <a:gd name="connsiteX68" fmla="*/ 2764780 w 3558002"/>
                <a:gd name="connsiteY68" fmla="*/ 1607374 h 3452831"/>
                <a:gd name="connsiteX69" fmla="*/ 2821336 w 3558002"/>
                <a:gd name="connsiteY69" fmla="*/ 1648301 h 3452831"/>
                <a:gd name="connsiteX70" fmla="*/ 2882357 w 3558002"/>
                <a:gd name="connsiteY70" fmla="*/ 1831658 h 3452831"/>
                <a:gd name="connsiteX71" fmla="*/ 2882505 w 3558002"/>
                <a:gd name="connsiteY71" fmla="*/ 1831658 h 3452831"/>
                <a:gd name="connsiteX72" fmla="*/ 2342400 w 3558002"/>
                <a:gd name="connsiteY72" fmla="*/ 1831658 h 3452831"/>
                <a:gd name="connsiteX73" fmla="*/ 2671911 w 3558002"/>
                <a:gd name="connsiteY73" fmla="*/ 2024242 h 3452831"/>
                <a:gd name="connsiteX74" fmla="*/ 2671911 w 3558002"/>
                <a:gd name="connsiteY74" fmla="*/ 2024093 h 3452831"/>
                <a:gd name="connsiteX75" fmla="*/ 2612380 w 3558002"/>
                <a:gd name="connsiteY75" fmla="*/ 2082881 h 3452831"/>
                <a:gd name="connsiteX76" fmla="*/ 2552849 w 3558002"/>
                <a:gd name="connsiteY76" fmla="*/ 2024093 h 3452831"/>
                <a:gd name="connsiteX77" fmla="*/ 2612380 w 3558002"/>
                <a:gd name="connsiteY77" fmla="*/ 1965453 h 3452831"/>
                <a:gd name="connsiteX78" fmla="*/ 2671911 w 3558002"/>
                <a:gd name="connsiteY78" fmla="*/ 2024093 h 3452831"/>
                <a:gd name="connsiteX79" fmla="*/ 2326630 w 3558002"/>
                <a:gd name="connsiteY79" fmla="*/ 2405242 h 3452831"/>
                <a:gd name="connsiteX80" fmla="*/ 2365770 w 3558002"/>
                <a:gd name="connsiteY80" fmla="*/ 2382024 h 3452831"/>
                <a:gd name="connsiteX81" fmla="*/ 2409974 w 3558002"/>
                <a:gd name="connsiteY81" fmla="*/ 2393335 h 3452831"/>
                <a:gd name="connsiteX82" fmla="*/ 2552849 w 3558002"/>
                <a:gd name="connsiteY82" fmla="*/ 2500492 h 3452831"/>
                <a:gd name="connsiteX83" fmla="*/ 2552849 w 3558002"/>
                <a:gd name="connsiteY83" fmla="*/ 2202687 h 3452831"/>
                <a:gd name="connsiteX84" fmla="*/ 2612380 w 3558002"/>
                <a:gd name="connsiteY84" fmla="*/ 2144047 h 3452831"/>
                <a:gd name="connsiteX85" fmla="*/ 2671911 w 3558002"/>
                <a:gd name="connsiteY85" fmla="*/ 2202687 h 3452831"/>
                <a:gd name="connsiteX86" fmla="*/ 2671911 w 3558002"/>
                <a:gd name="connsiteY86" fmla="*/ 2619425 h 3452831"/>
                <a:gd name="connsiteX87" fmla="*/ 2638723 w 3558002"/>
                <a:gd name="connsiteY87" fmla="*/ 2672109 h 3452831"/>
                <a:gd name="connsiteX88" fmla="*/ 2576662 w 3558002"/>
                <a:gd name="connsiteY88" fmla="*/ 2667049 h 3452831"/>
                <a:gd name="connsiteX89" fmla="*/ 2338537 w 3558002"/>
                <a:gd name="connsiteY89" fmla="*/ 2488455 h 3452831"/>
                <a:gd name="connsiteX90" fmla="*/ 2315319 w 3558002"/>
                <a:gd name="connsiteY90" fmla="*/ 2449315 h 3452831"/>
                <a:gd name="connsiteX91" fmla="*/ 2326630 w 3558002"/>
                <a:gd name="connsiteY91" fmla="*/ 2405264 h 3452831"/>
                <a:gd name="connsiteX92" fmla="*/ 2149229 w 3558002"/>
                <a:gd name="connsiteY92" fmla="*/ 2156403 h 3452831"/>
                <a:gd name="connsiteX93" fmla="*/ 2149229 w 3558002"/>
                <a:gd name="connsiteY93" fmla="*/ 2156254 h 3452831"/>
                <a:gd name="connsiteX94" fmla="*/ 2233018 w 3558002"/>
                <a:gd name="connsiteY94" fmla="*/ 2157147 h 3452831"/>
                <a:gd name="connsiteX95" fmla="*/ 2233762 w 3558002"/>
                <a:gd name="connsiteY95" fmla="*/ 2240788 h 3452831"/>
                <a:gd name="connsiteX96" fmla="*/ 2149973 w 3558002"/>
                <a:gd name="connsiteY96" fmla="*/ 2240044 h 3452831"/>
                <a:gd name="connsiteX97" fmla="*/ 2149229 w 3558002"/>
                <a:gd name="connsiteY97" fmla="*/ 2156254 h 3452831"/>
                <a:gd name="connsiteX98" fmla="*/ 2149229 w 3558002"/>
                <a:gd name="connsiteY98" fmla="*/ 2998185 h 3452831"/>
                <a:gd name="connsiteX99" fmla="*/ 2149229 w 3558002"/>
                <a:gd name="connsiteY99" fmla="*/ 2998036 h 3452831"/>
                <a:gd name="connsiteX100" fmla="*/ 2232870 w 3558002"/>
                <a:gd name="connsiteY100" fmla="*/ 2998928 h 3452831"/>
                <a:gd name="connsiteX101" fmla="*/ 2233763 w 3558002"/>
                <a:gd name="connsiteY101" fmla="*/ 3082718 h 3452831"/>
                <a:gd name="connsiteX102" fmla="*/ 2150122 w 3558002"/>
                <a:gd name="connsiteY102" fmla="*/ 3081825 h 3452831"/>
                <a:gd name="connsiteX103" fmla="*/ 2149229 w 3558002"/>
                <a:gd name="connsiteY103" fmla="*/ 2998036 h 3452831"/>
                <a:gd name="connsiteX104" fmla="*/ 2017067 w 3558002"/>
                <a:gd name="connsiteY104" fmla="*/ 2560035 h 3452831"/>
                <a:gd name="connsiteX105" fmla="*/ 2017067 w 3558002"/>
                <a:gd name="connsiteY105" fmla="*/ 2559886 h 3452831"/>
                <a:gd name="connsiteX106" fmla="*/ 2075707 w 3558002"/>
                <a:gd name="connsiteY106" fmla="*/ 2619417 h 3452831"/>
                <a:gd name="connsiteX107" fmla="*/ 2017067 w 3558002"/>
                <a:gd name="connsiteY107" fmla="*/ 2678948 h 3452831"/>
                <a:gd name="connsiteX108" fmla="*/ 1958428 w 3558002"/>
                <a:gd name="connsiteY108" fmla="*/ 2619417 h 3452831"/>
                <a:gd name="connsiteX109" fmla="*/ 2017067 w 3558002"/>
                <a:gd name="connsiteY109" fmla="*/ 2559886 h 3452831"/>
                <a:gd name="connsiteX110" fmla="*/ 833453 w 3558002"/>
                <a:gd name="connsiteY110" fmla="*/ 297847 h 3452831"/>
                <a:gd name="connsiteX111" fmla="*/ 833453 w 3558002"/>
                <a:gd name="connsiteY111" fmla="*/ 297698 h 3452831"/>
                <a:gd name="connsiteX112" fmla="*/ 774813 w 3558002"/>
                <a:gd name="connsiteY112" fmla="*/ 238167 h 3452831"/>
                <a:gd name="connsiteX113" fmla="*/ 833453 w 3558002"/>
                <a:gd name="connsiteY113" fmla="*/ 178635 h 3452831"/>
                <a:gd name="connsiteX114" fmla="*/ 892093 w 3558002"/>
                <a:gd name="connsiteY114" fmla="*/ 238167 h 3452831"/>
                <a:gd name="connsiteX115" fmla="*/ 833453 w 3558002"/>
                <a:gd name="connsiteY115" fmla="*/ 297698 h 3452831"/>
                <a:gd name="connsiteX116" fmla="*/ 2381265 w 3558002"/>
                <a:gd name="connsiteY116" fmla="*/ 297847 h 3452831"/>
                <a:gd name="connsiteX117" fmla="*/ 2381265 w 3558002"/>
                <a:gd name="connsiteY117" fmla="*/ 297698 h 3452831"/>
                <a:gd name="connsiteX118" fmla="*/ 2322626 w 3558002"/>
                <a:gd name="connsiteY118" fmla="*/ 238167 h 3452831"/>
                <a:gd name="connsiteX119" fmla="*/ 2381265 w 3558002"/>
                <a:gd name="connsiteY119" fmla="*/ 178635 h 3452831"/>
                <a:gd name="connsiteX120" fmla="*/ 2439905 w 3558002"/>
                <a:gd name="connsiteY120" fmla="*/ 238167 h 3452831"/>
                <a:gd name="connsiteX121" fmla="*/ 2381265 w 3558002"/>
                <a:gd name="connsiteY121" fmla="*/ 297698 h 34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558002" h="3452831">
                  <a:moveTo>
                    <a:pt x="3326755" y="1868698"/>
                  </a:moveTo>
                  <a:cubicBezTo>
                    <a:pt x="3298180" y="1833426"/>
                    <a:pt x="3258739" y="1808424"/>
                    <a:pt x="3214688" y="1797558"/>
                  </a:cubicBezTo>
                  <a:lnTo>
                    <a:pt x="3214688" y="595313"/>
                  </a:lnTo>
                  <a:cubicBezTo>
                    <a:pt x="3214539" y="463898"/>
                    <a:pt x="3107977" y="357336"/>
                    <a:pt x="2976563" y="357188"/>
                  </a:cubicBezTo>
                  <a:lnTo>
                    <a:pt x="2678906" y="357188"/>
                  </a:lnTo>
                  <a:lnTo>
                    <a:pt x="2678906" y="178594"/>
                  </a:lnTo>
                  <a:cubicBezTo>
                    <a:pt x="2678609" y="80071"/>
                    <a:pt x="2598835" y="297"/>
                    <a:pt x="2500313" y="0"/>
                  </a:cubicBezTo>
                  <a:lnTo>
                    <a:pt x="2262188" y="0"/>
                  </a:lnTo>
                  <a:cubicBezTo>
                    <a:pt x="2163665" y="298"/>
                    <a:pt x="2083891" y="80071"/>
                    <a:pt x="2083594" y="178594"/>
                  </a:cubicBezTo>
                  <a:lnTo>
                    <a:pt x="2083594" y="357188"/>
                  </a:lnTo>
                  <a:lnTo>
                    <a:pt x="1131094" y="357188"/>
                  </a:lnTo>
                  <a:lnTo>
                    <a:pt x="1131094" y="178594"/>
                  </a:lnTo>
                  <a:cubicBezTo>
                    <a:pt x="1130796" y="80071"/>
                    <a:pt x="1051023" y="297"/>
                    <a:pt x="952500" y="0"/>
                  </a:cubicBezTo>
                  <a:lnTo>
                    <a:pt x="714375" y="0"/>
                  </a:lnTo>
                  <a:cubicBezTo>
                    <a:pt x="615852" y="298"/>
                    <a:pt x="536078" y="80071"/>
                    <a:pt x="535781" y="178594"/>
                  </a:cubicBezTo>
                  <a:lnTo>
                    <a:pt x="535781" y="357188"/>
                  </a:lnTo>
                  <a:lnTo>
                    <a:pt x="238125" y="357188"/>
                  </a:lnTo>
                  <a:cubicBezTo>
                    <a:pt x="106562" y="357336"/>
                    <a:pt x="149" y="463898"/>
                    <a:pt x="0" y="595313"/>
                  </a:cubicBezTo>
                  <a:lnTo>
                    <a:pt x="0" y="2678926"/>
                  </a:lnTo>
                  <a:cubicBezTo>
                    <a:pt x="149" y="2810488"/>
                    <a:pt x="106562" y="2917051"/>
                    <a:pt x="238125" y="2917051"/>
                  </a:cubicBezTo>
                  <a:lnTo>
                    <a:pt x="1834591" y="2917051"/>
                  </a:lnTo>
                  <a:cubicBezTo>
                    <a:pt x="1894865" y="3074659"/>
                    <a:pt x="2001427" y="3210241"/>
                    <a:pt x="2140283" y="3305937"/>
                  </a:cubicBezTo>
                  <a:cubicBezTo>
                    <a:pt x="2279138" y="3401484"/>
                    <a:pt x="2443742" y="3452832"/>
                    <a:pt x="2612380" y="3452832"/>
                  </a:cubicBezTo>
                  <a:cubicBezTo>
                    <a:pt x="3468601" y="3444348"/>
                    <a:pt x="3757018" y="2322938"/>
                    <a:pt x="3028508" y="1898009"/>
                  </a:cubicBezTo>
                  <a:cubicBezTo>
                    <a:pt x="3028062" y="1893990"/>
                    <a:pt x="3027317" y="1890121"/>
                    <a:pt x="3026127" y="1886251"/>
                  </a:cubicBezTo>
                  <a:lnTo>
                    <a:pt x="2934298" y="1610175"/>
                  </a:lnTo>
                  <a:cubicBezTo>
                    <a:pt x="2909593" y="1537549"/>
                    <a:pt x="2841578" y="1488583"/>
                    <a:pt x="2764784" y="1488285"/>
                  </a:cubicBezTo>
                  <a:lnTo>
                    <a:pt x="2459984" y="1488285"/>
                  </a:lnTo>
                  <a:cubicBezTo>
                    <a:pt x="2383189" y="1488583"/>
                    <a:pt x="2314876" y="1537846"/>
                    <a:pt x="2290321" y="1610621"/>
                  </a:cubicBezTo>
                  <a:lnTo>
                    <a:pt x="2198644" y="1886251"/>
                  </a:lnTo>
                  <a:cubicBezTo>
                    <a:pt x="2197454" y="1890121"/>
                    <a:pt x="2196710" y="1893990"/>
                    <a:pt x="2196263" y="1898009"/>
                  </a:cubicBezTo>
                  <a:cubicBezTo>
                    <a:pt x="2043417" y="1986709"/>
                    <a:pt x="1922568" y="2121698"/>
                    <a:pt x="1851130" y="2283314"/>
                  </a:cubicBezTo>
                  <a:cubicBezTo>
                    <a:pt x="1779693" y="2445090"/>
                    <a:pt x="1761237" y="2625174"/>
                    <a:pt x="1798594" y="2797969"/>
                  </a:cubicBezTo>
                  <a:lnTo>
                    <a:pt x="238133" y="2797969"/>
                  </a:lnTo>
                  <a:cubicBezTo>
                    <a:pt x="172349" y="2797969"/>
                    <a:pt x="119070" y="2744690"/>
                    <a:pt x="119070" y="2678906"/>
                  </a:cubicBezTo>
                  <a:lnTo>
                    <a:pt x="119070" y="595294"/>
                  </a:lnTo>
                  <a:cubicBezTo>
                    <a:pt x="119070" y="529659"/>
                    <a:pt x="172349" y="476380"/>
                    <a:pt x="238133" y="476231"/>
                  </a:cubicBezTo>
                  <a:lnTo>
                    <a:pt x="2976570" y="476231"/>
                  </a:lnTo>
                  <a:cubicBezTo>
                    <a:pt x="3042205" y="476380"/>
                    <a:pt x="3095484" y="529659"/>
                    <a:pt x="3095633" y="595294"/>
                  </a:cubicBezTo>
                  <a:lnTo>
                    <a:pt x="3095633" y="1802301"/>
                  </a:lnTo>
                  <a:cubicBezTo>
                    <a:pt x="3074648" y="1809594"/>
                    <a:pt x="3055003" y="1820459"/>
                    <a:pt x="3037443" y="1834151"/>
                  </a:cubicBezTo>
                  <a:cubicBezTo>
                    <a:pt x="3058874" y="1845908"/>
                    <a:pt x="3079414" y="1859005"/>
                    <a:pt x="3099801" y="1872399"/>
                  </a:cubicBezTo>
                  <a:cubicBezTo>
                    <a:pt x="3108135" y="1894724"/>
                    <a:pt x="3129120" y="1909755"/>
                    <a:pt x="3152931" y="1910499"/>
                  </a:cubicBezTo>
                  <a:cubicBezTo>
                    <a:pt x="3312326" y="2031646"/>
                    <a:pt x="3426626" y="2202650"/>
                    <a:pt x="3477376" y="2396122"/>
                  </a:cubicBezTo>
                  <a:cubicBezTo>
                    <a:pt x="3521427" y="2361891"/>
                    <a:pt x="3550002" y="2311289"/>
                    <a:pt x="3556551" y="2255925"/>
                  </a:cubicBezTo>
                  <a:cubicBezTo>
                    <a:pt x="3563100" y="2200414"/>
                    <a:pt x="3547324" y="2144601"/>
                    <a:pt x="3512500" y="2100847"/>
                  </a:cubicBezTo>
                  <a:close/>
                  <a:moveTo>
                    <a:pt x="3207692" y="2559871"/>
                  </a:moveTo>
                  <a:cubicBezTo>
                    <a:pt x="3240286" y="2560466"/>
                    <a:pt x="3266332" y="2586957"/>
                    <a:pt x="3266332" y="2619402"/>
                  </a:cubicBezTo>
                  <a:cubicBezTo>
                    <a:pt x="3266332" y="2651995"/>
                    <a:pt x="3240287" y="2678487"/>
                    <a:pt x="3207692" y="2678933"/>
                  </a:cubicBezTo>
                  <a:cubicBezTo>
                    <a:pt x="3175099" y="2678487"/>
                    <a:pt x="3149053" y="2651995"/>
                    <a:pt x="3149053" y="2619402"/>
                  </a:cubicBezTo>
                  <a:cubicBezTo>
                    <a:pt x="3149053" y="2586957"/>
                    <a:pt x="3175098" y="2560465"/>
                    <a:pt x="3207692" y="2559871"/>
                  </a:cubicBezTo>
                  <a:close/>
                  <a:moveTo>
                    <a:pt x="2990999" y="2156239"/>
                  </a:moveTo>
                  <a:cubicBezTo>
                    <a:pt x="3014514" y="2133766"/>
                    <a:pt x="3051723" y="2134064"/>
                    <a:pt x="3074640" y="2157132"/>
                  </a:cubicBezTo>
                  <a:cubicBezTo>
                    <a:pt x="3097708" y="2180052"/>
                    <a:pt x="3098155" y="2217258"/>
                    <a:pt x="3075533" y="2240773"/>
                  </a:cubicBezTo>
                  <a:cubicBezTo>
                    <a:pt x="3052018" y="2263395"/>
                    <a:pt x="3014961" y="2262948"/>
                    <a:pt x="2991892" y="2240029"/>
                  </a:cubicBezTo>
                  <a:cubicBezTo>
                    <a:pt x="2968823" y="2216961"/>
                    <a:pt x="2968377" y="2179755"/>
                    <a:pt x="2990999" y="2156239"/>
                  </a:cubicBezTo>
                  <a:close/>
                  <a:moveTo>
                    <a:pt x="2990999" y="2998021"/>
                  </a:moveTo>
                  <a:cubicBezTo>
                    <a:pt x="3014514" y="2975548"/>
                    <a:pt x="3051723" y="2975845"/>
                    <a:pt x="3074640" y="2998914"/>
                  </a:cubicBezTo>
                  <a:cubicBezTo>
                    <a:pt x="3097708" y="3021982"/>
                    <a:pt x="3098155" y="3059188"/>
                    <a:pt x="3075533" y="3082703"/>
                  </a:cubicBezTo>
                  <a:cubicBezTo>
                    <a:pt x="3052018" y="3105176"/>
                    <a:pt x="3014809" y="3104729"/>
                    <a:pt x="2991892" y="3081810"/>
                  </a:cubicBezTo>
                  <a:cubicBezTo>
                    <a:pt x="2968823" y="3058742"/>
                    <a:pt x="2968377" y="3021536"/>
                    <a:pt x="2990999" y="2998021"/>
                  </a:cubicBezTo>
                  <a:close/>
                  <a:moveTo>
                    <a:pt x="2612380" y="3274246"/>
                  </a:moveTo>
                  <a:cubicBezTo>
                    <a:pt x="2579935" y="3273799"/>
                    <a:pt x="2553740" y="3247308"/>
                    <a:pt x="2553740" y="3214714"/>
                  </a:cubicBezTo>
                  <a:cubicBezTo>
                    <a:pt x="2553740" y="3182270"/>
                    <a:pt x="2579934" y="3155778"/>
                    <a:pt x="2612380" y="3155183"/>
                  </a:cubicBezTo>
                  <a:cubicBezTo>
                    <a:pt x="2644973" y="3155778"/>
                    <a:pt x="2671020" y="3182270"/>
                    <a:pt x="2671020" y="3214714"/>
                  </a:cubicBezTo>
                  <a:cubicBezTo>
                    <a:pt x="2671020" y="3247308"/>
                    <a:pt x="2644975" y="3273800"/>
                    <a:pt x="2612380" y="3274246"/>
                  </a:cubicBezTo>
                  <a:close/>
                  <a:moveTo>
                    <a:pt x="2403276" y="1648747"/>
                  </a:moveTo>
                  <a:cubicBezTo>
                    <a:pt x="2411313" y="1624191"/>
                    <a:pt x="2434232" y="1607672"/>
                    <a:pt x="2459980" y="1607374"/>
                  </a:cubicBezTo>
                  <a:lnTo>
                    <a:pt x="2764780" y="1607374"/>
                  </a:lnTo>
                  <a:cubicBezTo>
                    <a:pt x="2790379" y="1607523"/>
                    <a:pt x="2813148" y="1623894"/>
                    <a:pt x="2821336" y="1648301"/>
                  </a:cubicBezTo>
                  <a:lnTo>
                    <a:pt x="2882357" y="1831658"/>
                  </a:lnTo>
                  <a:lnTo>
                    <a:pt x="2882505" y="1831658"/>
                  </a:lnTo>
                  <a:cubicBezTo>
                    <a:pt x="2707482" y="1771383"/>
                    <a:pt x="2517431" y="1771383"/>
                    <a:pt x="2342400" y="1831658"/>
                  </a:cubicBezTo>
                  <a:close/>
                  <a:moveTo>
                    <a:pt x="2671911" y="2024242"/>
                  </a:moveTo>
                  <a:lnTo>
                    <a:pt x="2671911" y="2024093"/>
                  </a:lnTo>
                  <a:cubicBezTo>
                    <a:pt x="2671465" y="2056686"/>
                    <a:pt x="2644973" y="2082881"/>
                    <a:pt x="2612380" y="2082881"/>
                  </a:cubicBezTo>
                  <a:cubicBezTo>
                    <a:pt x="2579787" y="2082881"/>
                    <a:pt x="2553295" y="2056687"/>
                    <a:pt x="2552849" y="2024093"/>
                  </a:cubicBezTo>
                  <a:cubicBezTo>
                    <a:pt x="2553295" y="1991648"/>
                    <a:pt x="2579935" y="1965453"/>
                    <a:pt x="2612380" y="1965453"/>
                  </a:cubicBezTo>
                  <a:cubicBezTo>
                    <a:pt x="2644973" y="1965453"/>
                    <a:pt x="2671465" y="1991647"/>
                    <a:pt x="2671911" y="2024093"/>
                  </a:cubicBezTo>
                  <a:close/>
                  <a:moveTo>
                    <a:pt x="2326630" y="2405242"/>
                  </a:moveTo>
                  <a:cubicBezTo>
                    <a:pt x="2336155" y="2392591"/>
                    <a:pt x="2350294" y="2384257"/>
                    <a:pt x="2365770" y="2382024"/>
                  </a:cubicBezTo>
                  <a:cubicBezTo>
                    <a:pt x="2381397" y="2379792"/>
                    <a:pt x="2397322" y="2383810"/>
                    <a:pt x="2409974" y="2393335"/>
                  </a:cubicBezTo>
                  <a:lnTo>
                    <a:pt x="2552849" y="2500492"/>
                  </a:lnTo>
                  <a:lnTo>
                    <a:pt x="2552849" y="2202687"/>
                  </a:lnTo>
                  <a:cubicBezTo>
                    <a:pt x="2553295" y="2170242"/>
                    <a:pt x="2579787" y="2144047"/>
                    <a:pt x="2612380" y="2144047"/>
                  </a:cubicBezTo>
                  <a:cubicBezTo>
                    <a:pt x="2644973" y="2144047"/>
                    <a:pt x="2671465" y="2170241"/>
                    <a:pt x="2671911" y="2202687"/>
                  </a:cubicBezTo>
                  <a:lnTo>
                    <a:pt x="2671911" y="2619425"/>
                  </a:lnTo>
                  <a:cubicBezTo>
                    <a:pt x="2671465" y="2641898"/>
                    <a:pt x="2658666" y="2662138"/>
                    <a:pt x="2638723" y="2672109"/>
                  </a:cubicBezTo>
                  <a:cubicBezTo>
                    <a:pt x="2618780" y="2682081"/>
                    <a:pt x="2594820" y="2680146"/>
                    <a:pt x="2576662" y="2667049"/>
                  </a:cubicBezTo>
                  <a:lnTo>
                    <a:pt x="2338537" y="2488455"/>
                  </a:lnTo>
                  <a:cubicBezTo>
                    <a:pt x="2325886" y="2479080"/>
                    <a:pt x="2317552" y="2464941"/>
                    <a:pt x="2315319" y="2449315"/>
                  </a:cubicBezTo>
                  <a:cubicBezTo>
                    <a:pt x="2313087" y="2433688"/>
                    <a:pt x="2317105" y="2417764"/>
                    <a:pt x="2326630" y="2405264"/>
                  </a:cubicBezTo>
                  <a:close/>
                  <a:moveTo>
                    <a:pt x="2149229" y="2156403"/>
                  </a:moveTo>
                  <a:lnTo>
                    <a:pt x="2149229" y="2156254"/>
                  </a:lnTo>
                  <a:cubicBezTo>
                    <a:pt x="2172744" y="2133781"/>
                    <a:pt x="2209952" y="2134079"/>
                    <a:pt x="2233018" y="2157147"/>
                  </a:cubicBezTo>
                  <a:cubicBezTo>
                    <a:pt x="2255938" y="2180067"/>
                    <a:pt x="2256384" y="2217421"/>
                    <a:pt x="2233762" y="2240788"/>
                  </a:cubicBezTo>
                  <a:cubicBezTo>
                    <a:pt x="2210247" y="2263410"/>
                    <a:pt x="2173039" y="2263112"/>
                    <a:pt x="2149973" y="2240044"/>
                  </a:cubicBezTo>
                  <a:cubicBezTo>
                    <a:pt x="2127053" y="2216976"/>
                    <a:pt x="2126607" y="2179770"/>
                    <a:pt x="2149229" y="2156254"/>
                  </a:cubicBezTo>
                  <a:close/>
                  <a:moveTo>
                    <a:pt x="2149229" y="2998185"/>
                  </a:moveTo>
                  <a:lnTo>
                    <a:pt x="2149229" y="2998036"/>
                  </a:lnTo>
                  <a:cubicBezTo>
                    <a:pt x="2172744" y="2975563"/>
                    <a:pt x="2209952" y="2975860"/>
                    <a:pt x="2232870" y="2998928"/>
                  </a:cubicBezTo>
                  <a:cubicBezTo>
                    <a:pt x="2255938" y="3021997"/>
                    <a:pt x="2256236" y="3059203"/>
                    <a:pt x="2233763" y="3082718"/>
                  </a:cubicBezTo>
                  <a:cubicBezTo>
                    <a:pt x="2210248" y="3105191"/>
                    <a:pt x="2173039" y="3104744"/>
                    <a:pt x="2150122" y="3081825"/>
                  </a:cubicBezTo>
                  <a:cubicBezTo>
                    <a:pt x="2127053" y="3058757"/>
                    <a:pt x="2126607" y="3021551"/>
                    <a:pt x="2149229" y="2998036"/>
                  </a:cubicBezTo>
                  <a:close/>
                  <a:moveTo>
                    <a:pt x="2017067" y="2560035"/>
                  </a:moveTo>
                  <a:lnTo>
                    <a:pt x="2017067" y="2559886"/>
                  </a:lnTo>
                  <a:cubicBezTo>
                    <a:pt x="2049661" y="2560481"/>
                    <a:pt x="2075707" y="2586972"/>
                    <a:pt x="2075707" y="2619417"/>
                  </a:cubicBezTo>
                  <a:cubicBezTo>
                    <a:pt x="2075707" y="2652010"/>
                    <a:pt x="2049662" y="2678502"/>
                    <a:pt x="2017067" y="2678948"/>
                  </a:cubicBezTo>
                  <a:cubicBezTo>
                    <a:pt x="1984623" y="2678502"/>
                    <a:pt x="1958428" y="2652010"/>
                    <a:pt x="1958428" y="2619417"/>
                  </a:cubicBezTo>
                  <a:cubicBezTo>
                    <a:pt x="1958428" y="2586972"/>
                    <a:pt x="1984621" y="2560480"/>
                    <a:pt x="2017067" y="2559886"/>
                  </a:cubicBezTo>
                  <a:close/>
                  <a:moveTo>
                    <a:pt x="833453" y="297847"/>
                  </a:moveTo>
                  <a:lnTo>
                    <a:pt x="833453" y="297698"/>
                  </a:lnTo>
                  <a:cubicBezTo>
                    <a:pt x="800859" y="297251"/>
                    <a:pt x="774813" y="270760"/>
                    <a:pt x="774813" y="238167"/>
                  </a:cubicBezTo>
                  <a:cubicBezTo>
                    <a:pt x="774813" y="205722"/>
                    <a:pt x="800858" y="179230"/>
                    <a:pt x="833453" y="178635"/>
                  </a:cubicBezTo>
                  <a:cubicBezTo>
                    <a:pt x="865897" y="179231"/>
                    <a:pt x="892093" y="205722"/>
                    <a:pt x="892093" y="238167"/>
                  </a:cubicBezTo>
                  <a:cubicBezTo>
                    <a:pt x="892093" y="270760"/>
                    <a:pt x="865899" y="297252"/>
                    <a:pt x="833453" y="297698"/>
                  </a:cubicBezTo>
                  <a:close/>
                  <a:moveTo>
                    <a:pt x="2381265" y="297847"/>
                  </a:moveTo>
                  <a:lnTo>
                    <a:pt x="2381265" y="297698"/>
                  </a:lnTo>
                  <a:cubicBezTo>
                    <a:pt x="2348672" y="297251"/>
                    <a:pt x="2322626" y="270760"/>
                    <a:pt x="2322626" y="238167"/>
                  </a:cubicBezTo>
                  <a:cubicBezTo>
                    <a:pt x="2322626" y="205722"/>
                    <a:pt x="2348670" y="179230"/>
                    <a:pt x="2381265" y="178635"/>
                  </a:cubicBezTo>
                  <a:cubicBezTo>
                    <a:pt x="2413710" y="179231"/>
                    <a:pt x="2439905" y="205722"/>
                    <a:pt x="2439905" y="238167"/>
                  </a:cubicBezTo>
                  <a:cubicBezTo>
                    <a:pt x="2439905" y="270760"/>
                    <a:pt x="2413711" y="297252"/>
                    <a:pt x="2381265" y="297698"/>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C78ECC80-3912-DCC1-776A-E3951764B8BE}"/>
                </a:ext>
              </a:extLst>
            </p:cNvPr>
            <p:cNvSpPr/>
            <p:nvPr/>
          </p:nvSpPr>
          <p:spPr>
            <a:xfrm>
              <a:off x="-3007225" y="3746902"/>
              <a:ext cx="521111" cy="605000"/>
            </a:xfrm>
            <a:custGeom>
              <a:avLst/>
              <a:gdLst>
                <a:gd name="connsiteX0" fmla="*/ 77622 w 521111"/>
                <a:gd name="connsiteY0" fmla="*/ 603214 h 605000"/>
                <a:gd name="connsiteX1" fmla="*/ 80599 w 521111"/>
                <a:gd name="connsiteY1" fmla="*/ 605000 h 605000"/>
                <a:gd name="connsiteX2" fmla="*/ 521111 w 521111"/>
                <a:gd name="connsiteY2" fmla="*/ 42416 h 605000"/>
                <a:gd name="connsiteX3" fmla="*/ 231193 w 521111"/>
                <a:gd name="connsiteY3" fmla="*/ 77539 h 605000"/>
                <a:gd name="connsiteX4" fmla="*/ 45456 w 521111"/>
                <a:gd name="connsiteY4" fmla="*/ 310308 h 605000"/>
                <a:gd name="connsiteX5" fmla="*/ 77602 w 521111"/>
                <a:gd name="connsiteY5" fmla="*/ 603201 h 6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11" h="605000">
                  <a:moveTo>
                    <a:pt x="77622" y="603214"/>
                  </a:moveTo>
                  <a:cubicBezTo>
                    <a:pt x="78813" y="603810"/>
                    <a:pt x="79408" y="605000"/>
                    <a:pt x="80599" y="605000"/>
                  </a:cubicBezTo>
                  <a:cubicBezTo>
                    <a:pt x="143403" y="364643"/>
                    <a:pt x="302798" y="161059"/>
                    <a:pt x="521111" y="42416"/>
                  </a:cubicBezTo>
                  <a:cubicBezTo>
                    <a:pt x="430772" y="-25749"/>
                    <a:pt x="302631" y="-10120"/>
                    <a:pt x="231193" y="77539"/>
                  </a:cubicBezTo>
                  <a:lnTo>
                    <a:pt x="45456" y="310308"/>
                  </a:lnTo>
                  <a:cubicBezTo>
                    <a:pt x="-25982" y="400349"/>
                    <a:pt x="-11694" y="531021"/>
                    <a:pt x="77602" y="60320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A793E119-F8CC-C222-6448-E2EBA198BCEE}"/>
                </a:ext>
              </a:extLst>
            </p:cNvPr>
            <p:cNvSpPr/>
            <p:nvPr/>
          </p:nvSpPr>
          <p:spPr>
            <a:xfrm>
              <a:off x="-1779480" y="5235319"/>
              <a:ext cx="371125" cy="305351"/>
            </a:xfrm>
            <a:custGeom>
              <a:avLst/>
              <a:gdLst>
                <a:gd name="connsiteX0" fmla="*/ 2 w 371125"/>
                <a:gd name="connsiteY0" fmla="*/ 186931 h 305351"/>
                <a:gd name="connsiteX1" fmla="*/ 67866 w 371125"/>
                <a:gd name="connsiteY1" fmla="*/ 254795 h 305351"/>
                <a:gd name="connsiteX2" fmla="*/ 319833 w 371125"/>
                <a:gd name="connsiteY2" fmla="*/ 251967 h 305351"/>
                <a:gd name="connsiteX3" fmla="*/ 318493 w 371125"/>
                <a:gd name="connsiteY3" fmla="*/ 0 h 305351"/>
                <a:gd name="connsiteX4" fmla="*/ 0 w 371125"/>
                <a:gd name="connsiteY4" fmla="*/ 186926 h 3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125" h="305351">
                  <a:moveTo>
                    <a:pt x="2" y="186931"/>
                  </a:moveTo>
                  <a:lnTo>
                    <a:pt x="67866" y="254795"/>
                  </a:lnTo>
                  <a:cubicBezTo>
                    <a:pt x="138412" y="323256"/>
                    <a:pt x="250925" y="322064"/>
                    <a:pt x="319833" y="251967"/>
                  </a:cubicBezTo>
                  <a:cubicBezTo>
                    <a:pt x="388740" y="181870"/>
                    <a:pt x="388146" y="69354"/>
                    <a:pt x="318493" y="0"/>
                  </a:cubicBezTo>
                  <a:cubicBezTo>
                    <a:pt x="226367" y="83790"/>
                    <a:pt x="118022" y="147340"/>
                    <a:pt x="0" y="186926"/>
                  </a:cubicBezTo>
                  <a:close/>
                </a:path>
              </a:pathLst>
            </a:custGeom>
            <a:grpFill/>
            <a:ln w="381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7803149-2093-150D-CE95-8291BC46D080}"/>
                </a:ext>
              </a:extLst>
            </p:cNvPr>
            <p:cNvSpPr/>
            <p:nvPr/>
          </p:nvSpPr>
          <p:spPr>
            <a:xfrm>
              <a:off x="-2714873" y="5237137"/>
              <a:ext cx="371065" cy="303857"/>
            </a:xfrm>
            <a:custGeom>
              <a:avLst/>
              <a:gdLst>
                <a:gd name="connsiteX0" fmla="*/ 303202 w 371065"/>
                <a:gd name="connsiteY0" fmla="*/ 253007 h 303857"/>
                <a:gd name="connsiteX1" fmla="*/ 371066 w 371065"/>
                <a:gd name="connsiteY1" fmla="*/ 185143 h 303857"/>
                <a:gd name="connsiteX2" fmla="*/ 51384 w 371065"/>
                <a:gd name="connsiteY2" fmla="*/ 0 h 303857"/>
                <a:gd name="connsiteX3" fmla="*/ 51979 w 371065"/>
                <a:gd name="connsiteY3" fmla="*/ 251224 h 303857"/>
                <a:gd name="connsiteX4" fmla="*/ 303203 w 371065"/>
                <a:gd name="connsiteY4" fmla="*/ 253010 h 303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5" h="303857">
                  <a:moveTo>
                    <a:pt x="303202" y="253007"/>
                  </a:moveTo>
                  <a:lnTo>
                    <a:pt x="371066" y="185143"/>
                  </a:lnTo>
                  <a:cubicBezTo>
                    <a:pt x="253344" y="145256"/>
                    <a:pt x="144699" y="82304"/>
                    <a:pt x="51384" y="0"/>
                  </a:cubicBezTo>
                  <a:cubicBezTo>
                    <a:pt x="-17375" y="69799"/>
                    <a:pt x="-17078" y="181867"/>
                    <a:pt x="51979" y="251224"/>
                  </a:cubicBezTo>
                  <a:cubicBezTo>
                    <a:pt x="121036" y="320726"/>
                    <a:pt x="233103" y="321473"/>
                    <a:pt x="303203" y="253010"/>
                  </a:cubicBezTo>
                  <a:close/>
                </a:path>
              </a:pathLst>
            </a:custGeom>
            <a:grpFill/>
            <a:ln w="38100" cap="flat">
              <a:noFill/>
              <a:prstDash val="solid"/>
              <a:miter/>
            </a:ln>
          </p:spPr>
          <p:txBody>
            <a:bodyPr rtlCol="0" anchor="ctr"/>
            <a:lstStyle/>
            <a:p>
              <a:endParaRPr lang="en-US"/>
            </a:p>
          </p:txBody>
        </p:sp>
      </p:grpSp>
      <p:grpSp>
        <p:nvGrpSpPr>
          <p:cNvPr id="100" name="Group 99">
            <a:extLst>
              <a:ext uri="{FF2B5EF4-FFF2-40B4-BE49-F238E27FC236}">
                <a16:creationId xmlns:a16="http://schemas.microsoft.com/office/drawing/2014/main" id="{69FE949D-0F96-1ED0-C369-FFF5FEF7F754}"/>
              </a:ext>
            </a:extLst>
          </p:cNvPr>
          <p:cNvGrpSpPr/>
          <p:nvPr/>
        </p:nvGrpSpPr>
        <p:grpSpPr>
          <a:xfrm>
            <a:off x="677929" y="5752649"/>
            <a:ext cx="470162" cy="332228"/>
            <a:chOff x="-4722459" y="5577188"/>
            <a:chExt cx="3631470" cy="2566108"/>
          </a:xfrm>
          <a:solidFill>
            <a:schemeClr val="tx1"/>
          </a:solidFill>
        </p:grpSpPr>
        <p:sp>
          <p:nvSpPr>
            <p:cNvPr id="96" name="Freeform: Shape 95">
              <a:extLst>
                <a:ext uri="{FF2B5EF4-FFF2-40B4-BE49-F238E27FC236}">
                  <a16:creationId xmlns:a16="http://schemas.microsoft.com/office/drawing/2014/main" id="{6F732845-EB8D-C866-1D1F-14EB1CA23F8E}"/>
                </a:ext>
              </a:extLst>
            </p:cNvPr>
            <p:cNvSpPr/>
            <p:nvPr/>
          </p:nvSpPr>
          <p:spPr>
            <a:xfrm>
              <a:off x="-4722459" y="5691440"/>
              <a:ext cx="1715696" cy="2451590"/>
            </a:xfrm>
            <a:custGeom>
              <a:avLst/>
              <a:gdLst>
                <a:gd name="connsiteX0" fmla="*/ 1663431 w 1715696"/>
                <a:gd name="connsiteY0" fmla="*/ 2253069 h 2451590"/>
                <a:gd name="connsiteX1" fmla="*/ 1560592 w 1715696"/>
                <a:gd name="connsiteY1" fmla="*/ 2214969 h 2451590"/>
                <a:gd name="connsiteX2" fmla="*/ 1553002 w 1715696"/>
                <a:gd name="connsiteY2" fmla="*/ 2001548 h 2451590"/>
                <a:gd name="connsiteX3" fmla="*/ 1412062 w 1715696"/>
                <a:gd name="connsiteY3" fmla="*/ 1788127 h 2451590"/>
                <a:gd name="connsiteX4" fmla="*/ 1366373 w 1715696"/>
                <a:gd name="connsiteY4" fmla="*/ 1788127 h 2451590"/>
                <a:gd name="connsiteX5" fmla="*/ 1320683 w 1715696"/>
                <a:gd name="connsiteY5" fmla="*/ 2016727 h 2451590"/>
                <a:gd name="connsiteX6" fmla="*/ 1377833 w 1715696"/>
                <a:gd name="connsiteY6" fmla="*/ 2131027 h 2451590"/>
                <a:gd name="connsiteX7" fmla="*/ 1172154 w 1715696"/>
                <a:gd name="connsiteY7" fmla="*/ 2001548 h 2451590"/>
                <a:gd name="connsiteX8" fmla="*/ 1217844 w 1715696"/>
                <a:gd name="connsiteY8" fmla="*/ 1795869 h 2451590"/>
                <a:gd name="connsiteX9" fmla="*/ 1137773 w 1715696"/>
                <a:gd name="connsiteY9" fmla="*/ 1559680 h 2451590"/>
                <a:gd name="connsiteX10" fmla="*/ 1092083 w 1715696"/>
                <a:gd name="connsiteY10" fmla="*/ 1552090 h 2451590"/>
                <a:gd name="connsiteX11" fmla="*/ 992962 w 1715696"/>
                <a:gd name="connsiteY11" fmla="*/ 1761639 h 2451590"/>
                <a:gd name="connsiteX12" fmla="*/ 1019602 w 1715696"/>
                <a:gd name="connsiteY12" fmla="*/ 1883529 h 2451590"/>
                <a:gd name="connsiteX13" fmla="*/ 852023 w 1715696"/>
                <a:gd name="connsiteY13" fmla="*/ 1715950 h 2451590"/>
                <a:gd name="connsiteX14" fmla="*/ 947273 w 1715696"/>
                <a:gd name="connsiteY14" fmla="*/ 1525450 h 2451590"/>
                <a:gd name="connsiteX15" fmla="*/ 924354 w 1715696"/>
                <a:gd name="connsiteY15" fmla="*/ 1277800 h 2451590"/>
                <a:gd name="connsiteX16" fmla="*/ 882383 w 1715696"/>
                <a:gd name="connsiteY16" fmla="*/ 1258750 h 2451590"/>
                <a:gd name="connsiteX17" fmla="*/ 737572 w 1715696"/>
                <a:gd name="connsiteY17" fmla="*/ 1437790 h 2451590"/>
                <a:gd name="connsiteX18" fmla="*/ 733703 w 1715696"/>
                <a:gd name="connsiteY18" fmla="*/ 1563550 h 2451590"/>
                <a:gd name="connsiteX19" fmla="*/ 611813 w 1715696"/>
                <a:gd name="connsiteY19" fmla="*/ 1361590 h 2451590"/>
                <a:gd name="connsiteX20" fmla="*/ 749034 w 1715696"/>
                <a:gd name="connsiteY20" fmla="*/ 1197729 h 2451590"/>
                <a:gd name="connsiteX21" fmla="*/ 783265 w 1715696"/>
                <a:gd name="connsiteY21" fmla="*/ 953950 h 2451590"/>
                <a:gd name="connsiteX22" fmla="*/ 749034 w 1715696"/>
                <a:gd name="connsiteY22" fmla="*/ 927310 h 2451590"/>
                <a:gd name="connsiteX23" fmla="*/ 566124 w 1715696"/>
                <a:gd name="connsiteY23" fmla="*/ 1068249 h 2451590"/>
                <a:gd name="connsiteX24" fmla="*/ 535614 w 1715696"/>
                <a:gd name="connsiteY24" fmla="*/ 1190139 h 2451590"/>
                <a:gd name="connsiteX25" fmla="*/ 463285 w 1715696"/>
                <a:gd name="connsiteY25" fmla="*/ 965410 h 2451590"/>
                <a:gd name="connsiteX26" fmla="*/ 634735 w 1715696"/>
                <a:gd name="connsiteY26" fmla="*/ 839649 h 2451590"/>
                <a:gd name="connsiteX27" fmla="*/ 726114 w 1715696"/>
                <a:gd name="connsiteY27" fmla="*/ 607178 h 2451590"/>
                <a:gd name="connsiteX28" fmla="*/ 699474 w 1715696"/>
                <a:gd name="connsiteY28" fmla="*/ 572948 h 2451590"/>
                <a:gd name="connsiteX29" fmla="*/ 489924 w 1715696"/>
                <a:gd name="connsiteY29" fmla="*/ 668198 h 2451590"/>
                <a:gd name="connsiteX30" fmla="*/ 432774 w 1715696"/>
                <a:gd name="connsiteY30" fmla="*/ 782498 h 2451590"/>
                <a:gd name="connsiteX31" fmla="*/ 413724 w 1715696"/>
                <a:gd name="connsiteY31" fmla="*/ 542437 h 2451590"/>
                <a:gd name="connsiteX32" fmla="*/ 608095 w 1715696"/>
                <a:gd name="connsiteY32" fmla="*/ 458648 h 2451590"/>
                <a:gd name="connsiteX33" fmla="*/ 752905 w 1715696"/>
                <a:gd name="connsiteY33" fmla="*/ 245227 h 2451590"/>
                <a:gd name="connsiteX34" fmla="*/ 733855 w 1715696"/>
                <a:gd name="connsiteY34" fmla="*/ 203256 h 2451590"/>
                <a:gd name="connsiteX35" fmla="*/ 505255 w 1715696"/>
                <a:gd name="connsiteY35" fmla="*/ 248945 h 2451590"/>
                <a:gd name="connsiteX36" fmla="*/ 421466 w 1715696"/>
                <a:gd name="connsiteY36" fmla="*/ 348066 h 2451590"/>
                <a:gd name="connsiteX37" fmla="*/ 467155 w 1715696"/>
                <a:gd name="connsiteY37" fmla="*/ 81366 h 2451590"/>
                <a:gd name="connsiteX38" fmla="*/ 436646 w 1715696"/>
                <a:gd name="connsiteY38" fmla="*/ 1295 h 2451590"/>
                <a:gd name="connsiteX39" fmla="*/ 371906 w 1715696"/>
                <a:gd name="connsiteY39" fmla="*/ 58445 h 2451590"/>
                <a:gd name="connsiteX40" fmla="*/ 322346 w 1715696"/>
                <a:gd name="connsiteY40" fmla="*/ 336606 h 2451590"/>
                <a:gd name="connsiteX41" fmla="*/ 269067 w 1715696"/>
                <a:gd name="connsiteY41" fmla="*/ 210845 h 2451590"/>
                <a:gd name="connsiteX42" fmla="*/ 78567 w 1715696"/>
                <a:gd name="connsiteY42" fmla="*/ 58445 h 2451590"/>
                <a:gd name="connsiteX43" fmla="*/ 40467 w 1715696"/>
                <a:gd name="connsiteY43" fmla="*/ 108006 h 2451590"/>
                <a:gd name="connsiteX44" fmla="*/ 120538 w 1715696"/>
                <a:gd name="connsiteY44" fmla="*/ 435727 h 2451590"/>
                <a:gd name="connsiteX45" fmla="*/ 311038 w 1715696"/>
                <a:gd name="connsiteY45" fmla="*/ 542437 h 2451590"/>
                <a:gd name="connsiteX46" fmla="*/ 330088 w 1715696"/>
                <a:gd name="connsiteY46" fmla="*/ 793958 h 2451590"/>
                <a:gd name="connsiteX47" fmla="*/ 246298 w 1715696"/>
                <a:gd name="connsiteY47" fmla="*/ 687248 h 2451590"/>
                <a:gd name="connsiteX48" fmla="*/ 25288 w 1715696"/>
                <a:gd name="connsiteY48" fmla="*/ 588127 h 2451590"/>
                <a:gd name="connsiteX49" fmla="*/ 2368 w 1715696"/>
                <a:gd name="connsiteY49" fmla="*/ 641406 h 2451590"/>
                <a:gd name="connsiteX50" fmla="*/ 158639 w 1715696"/>
                <a:gd name="connsiteY50" fmla="*/ 931027 h 2451590"/>
                <a:gd name="connsiteX51" fmla="*/ 368189 w 1715696"/>
                <a:gd name="connsiteY51" fmla="*/ 988177 h 2451590"/>
                <a:gd name="connsiteX52" fmla="*/ 444389 w 1715696"/>
                <a:gd name="connsiteY52" fmla="*/ 1224366 h 2451590"/>
                <a:gd name="connsiteX53" fmla="*/ 341550 w 1715696"/>
                <a:gd name="connsiteY53" fmla="*/ 1140577 h 2451590"/>
                <a:gd name="connsiteX54" fmla="*/ 105360 w 1715696"/>
                <a:gd name="connsiteY54" fmla="*/ 1098606 h 2451590"/>
                <a:gd name="connsiteX55" fmla="*/ 93900 w 1715696"/>
                <a:gd name="connsiteY55" fmla="*/ 1155756 h 2451590"/>
                <a:gd name="connsiteX56" fmla="*/ 311040 w 1715696"/>
                <a:gd name="connsiteY56" fmla="*/ 1395816 h 2451590"/>
                <a:gd name="connsiteX57" fmla="*/ 528179 w 1715696"/>
                <a:gd name="connsiteY57" fmla="*/ 1403406 h 2451590"/>
                <a:gd name="connsiteX58" fmla="*/ 657658 w 1715696"/>
                <a:gd name="connsiteY58" fmla="*/ 1616827 h 2451590"/>
                <a:gd name="connsiteX59" fmla="*/ 535769 w 1715696"/>
                <a:gd name="connsiteY59" fmla="*/ 1559677 h 2451590"/>
                <a:gd name="connsiteX60" fmla="*/ 295708 w 1715696"/>
                <a:gd name="connsiteY60" fmla="*/ 1574858 h 2451590"/>
                <a:gd name="connsiteX61" fmla="*/ 299578 w 1715696"/>
                <a:gd name="connsiteY61" fmla="*/ 1632008 h 2451590"/>
                <a:gd name="connsiteX62" fmla="*/ 566278 w 1715696"/>
                <a:gd name="connsiteY62" fmla="*/ 1818637 h 2451590"/>
                <a:gd name="connsiteX63" fmla="*/ 779699 w 1715696"/>
                <a:gd name="connsiteY63" fmla="*/ 1776666 h 2451590"/>
                <a:gd name="connsiteX64" fmla="*/ 955020 w 1715696"/>
                <a:gd name="connsiteY64" fmla="*/ 1955706 h 2451590"/>
                <a:gd name="connsiteX65" fmla="*/ 821670 w 1715696"/>
                <a:gd name="connsiteY65" fmla="*/ 1929065 h 2451590"/>
                <a:gd name="connsiteX66" fmla="*/ 593070 w 1715696"/>
                <a:gd name="connsiteY66" fmla="*/ 1997676 h 2451590"/>
                <a:gd name="connsiteX67" fmla="*/ 608250 w 1715696"/>
                <a:gd name="connsiteY67" fmla="*/ 2054826 h 2451590"/>
                <a:gd name="connsiteX68" fmla="*/ 913050 w 1715696"/>
                <a:gd name="connsiteY68" fmla="*/ 2176715 h 2451590"/>
                <a:gd name="connsiteX69" fmla="*/ 1111140 w 1715696"/>
                <a:gd name="connsiteY69" fmla="*/ 2085336 h 2451590"/>
                <a:gd name="connsiteX70" fmla="*/ 1328279 w 1715696"/>
                <a:gd name="connsiteY70" fmla="*/ 2218686 h 2451590"/>
                <a:gd name="connsiteX71" fmla="*/ 1191058 w 1715696"/>
                <a:gd name="connsiteY71" fmla="*/ 2222556 h 2451590"/>
                <a:gd name="connsiteX72" fmla="*/ 981508 w 1715696"/>
                <a:gd name="connsiteY72" fmla="*/ 2340727 h 2451590"/>
                <a:gd name="connsiteX73" fmla="*/ 1012018 w 1715696"/>
                <a:gd name="connsiteY73" fmla="*/ 2394006 h 2451590"/>
                <a:gd name="connsiteX74" fmla="*/ 1343458 w 1715696"/>
                <a:gd name="connsiteY74" fmla="*/ 2443566 h 2451590"/>
                <a:gd name="connsiteX75" fmla="*/ 1518779 w 1715696"/>
                <a:gd name="connsiteY75" fmla="*/ 2310216 h 2451590"/>
                <a:gd name="connsiteX76" fmla="*/ 1629208 w 1715696"/>
                <a:gd name="connsiteY76" fmla="*/ 2352187 h 2451590"/>
                <a:gd name="connsiteX77" fmla="*/ 1712997 w 1715696"/>
                <a:gd name="connsiteY77" fmla="*/ 2325547 h 2451590"/>
                <a:gd name="connsiteX78" fmla="*/ 1663437 w 1715696"/>
                <a:gd name="connsiteY78" fmla="*/ 2253069 h 245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5696" h="2451590">
                  <a:moveTo>
                    <a:pt x="1663431" y="2253069"/>
                  </a:moveTo>
                  <a:cubicBezTo>
                    <a:pt x="1621460" y="2237889"/>
                    <a:pt x="1602410" y="2230150"/>
                    <a:pt x="1560592" y="2214969"/>
                  </a:cubicBezTo>
                  <a:cubicBezTo>
                    <a:pt x="1575772" y="2165409"/>
                    <a:pt x="1583511" y="2085490"/>
                    <a:pt x="1553002" y="2001548"/>
                  </a:cubicBezTo>
                  <a:cubicBezTo>
                    <a:pt x="1518771" y="1906298"/>
                    <a:pt x="1450162" y="1830098"/>
                    <a:pt x="1412062" y="1788127"/>
                  </a:cubicBezTo>
                  <a:cubicBezTo>
                    <a:pt x="1396881" y="1772947"/>
                    <a:pt x="1377831" y="1772947"/>
                    <a:pt x="1366373" y="1788127"/>
                  </a:cubicBezTo>
                  <a:cubicBezTo>
                    <a:pt x="1339732" y="1830098"/>
                    <a:pt x="1294044" y="1913888"/>
                    <a:pt x="1320683" y="2016727"/>
                  </a:cubicBezTo>
                  <a:cubicBezTo>
                    <a:pt x="1332143" y="2058698"/>
                    <a:pt x="1351193" y="2096798"/>
                    <a:pt x="1377833" y="2131027"/>
                  </a:cubicBezTo>
                  <a:cubicBezTo>
                    <a:pt x="1290173" y="2085338"/>
                    <a:pt x="1252073" y="2058698"/>
                    <a:pt x="1172154" y="2001548"/>
                  </a:cubicBezTo>
                  <a:cubicBezTo>
                    <a:pt x="1198794" y="1955859"/>
                    <a:pt x="1225433" y="1879659"/>
                    <a:pt x="1217844" y="1795869"/>
                  </a:cubicBezTo>
                  <a:cubicBezTo>
                    <a:pt x="1210253" y="1696748"/>
                    <a:pt x="1160694" y="1605369"/>
                    <a:pt x="1137773" y="1559680"/>
                  </a:cubicBezTo>
                  <a:cubicBezTo>
                    <a:pt x="1130182" y="1544499"/>
                    <a:pt x="1107263" y="1536760"/>
                    <a:pt x="1092083" y="1552090"/>
                  </a:cubicBezTo>
                  <a:cubicBezTo>
                    <a:pt x="1057852" y="1586320"/>
                    <a:pt x="992962" y="1658800"/>
                    <a:pt x="992962" y="1761639"/>
                  </a:cubicBezTo>
                  <a:cubicBezTo>
                    <a:pt x="992962" y="1803610"/>
                    <a:pt x="1004422" y="1845429"/>
                    <a:pt x="1019602" y="1883529"/>
                  </a:cubicBezTo>
                  <a:cubicBezTo>
                    <a:pt x="947273" y="1818789"/>
                    <a:pt x="916763" y="1784408"/>
                    <a:pt x="852023" y="1715950"/>
                  </a:cubicBezTo>
                  <a:cubicBezTo>
                    <a:pt x="886254" y="1677850"/>
                    <a:pt x="932094" y="1613110"/>
                    <a:pt x="947273" y="1525450"/>
                  </a:cubicBezTo>
                  <a:cubicBezTo>
                    <a:pt x="962454" y="1426329"/>
                    <a:pt x="939683" y="1331079"/>
                    <a:pt x="924354" y="1277800"/>
                  </a:cubicBezTo>
                  <a:cubicBezTo>
                    <a:pt x="920484" y="1258750"/>
                    <a:pt x="897714" y="1251160"/>
                    <a:pt x="882383" y="1258750"/>
                  </a:cubicBezTo>
                  <a:cubicBezTo>
                    <a:pt x="840412" y="1285390"/>
                    <a:pt x="760493" y="1338821"/>
                    <a:pt x="737572" y="1437790"/>
                  </a:cubicBezTo>
                  <a:cubicBezTo>
                    <a:pt x="726113" y="1479760"/>
                    <a:pt x="729982" y="1521579"/>
                    <a:pt x="733703" y="1563550"/>
                  </a:cubicBezTo>
                  <a:cubicBezTo>
                    <a:pt x="680424" y="1487350"/>
                    <a:pt x="657503" y="1445379"/>
                    <a:pt x="611813" y="1361590"/>
                  </a:cubicBezTo>
                  <a:cubicBezTo>
                    <a:pt x="653784" y="1331080"/>
                    <a:pt x="714653" y="1277800"/>
                    <a:pt x="749034" y="1197729"/>
                  </a:cubicBezTo>
                  <a:cubicBezTo>
                    <a:pt x="787134" y="1106350"/>
                    <a:pt x="787134" y="1007229"/>
                    <a:pt x="783265" y="953950"/>
                  </a:cubicBezTo>
                  <a:cubicBezTo>
                    <a:pt x="783265" y="934900"/>
                    <a:pt x="764215" y="919719"/>
                    <a:pt x="749034" y="927310"/>
                  </a:cubicBezTo>
                  <a:cubicBezTo>
                    <a:pt x="703345" y="942490"/>
                    <a:pt x="611813" y="976870"/>
                    <a:pt x="566124" y="1068249"/>
                  </a:cubicBezTo>
                  <a:cubicBezTo>
                    <a:pt x="547074" y="1106349"/>
                    <a:pt x="539484" y="1148320"/>
                    <a:pt x="535614" y="1190139"/>
                  </a:cubicBezTo>
                  <a:cubicBezTo>
                    <a:pt x="501384" y="1102478"/>
                    <a:pt x="486054" y="1056789"/>
                    <a:pt x="463285" y="965410"/>
                  </a:cubicBezTo>
                  <a:cubicBezTo>
                    <a:pt x="512846" y="946360"/>
                    <a:pt x="581456" y="908260"/>
                    <a:pt x="634735" y="839649"/>
                  </a:cubicBezTo>
                  <a:cubicBezTo>
                    <a:pt x="691885" y="759578"/>
                    <a:pt x="714806" y="660610"/>
                    <a:pt x="726114" y="607178"/>
                  </a:cubicBezTo>
                  <a:cubicBezTo>
                    <a:pt x="729984" y="588128"/>
                    <a:pt x="714654" y="569078"/>
                    <a:pt x="699474" y="572948"/>
                  </a:cubicBezTo>
                  <a:cubicBezTo>
                    <a:pt x="649913" y="576817"/>
                    <a:pt x="554663" y="591998"/>
                    <a:pt x="489924" y="668198"/>
                  </a:cubicBezTo>
                  <a:cubicBezTo>
                    <a:pt x="463284" y="702428"/>
                    <a:pt x="444234" y="740527"/>
                    <a:pt x="432774" y="782498"/>
                  </a:cubicBezTo>
                  <a:cubicBezTo>
                    <a:pt x="421314" y="687248"/>
                    <a:pt x="417593" y="641558"/>
                    <a:pt x="413724" y="542437"/>
                  </a:cubicBezTo>
                  <a:cubicBezTo>
                    <a:pt x="467003" y="534847"/>
                    <a:pt x="543203" y="515797"/>
                    <a:pt x="608095" y="458648"/>
                  </a:cubicBezTo>
                  <a:cubicBezTo>
                    <a:pt x="684295" y="393908"/>
                    <a:pt x="729984" y="298658"/>
                    <a:pt x="752905" y="245227"/>
                  </a:cubicBezTo>
                  <a:cubicBezTo>
                    <a:pt x="760496" y="226177"/>
                    <a:pt x="752905" y="207127"/>
                    <a:pt x="733855" y="203256"/>
                  </a:cubicBezTo>
                  <a:cubicBezTo>
                    <a:pt x="684295" y="195665"/>
                    <a:pt x="589045" y="188075"/>
                    <a:pt x="505255" y="248945"/>
                  </a:cubicBezTo>
                  <a:cubicBezTo>
                    <a:pt x="471025" y="275585"/>
                    <a:pt x="444234" y="309966"/>
                    <a:pt x="421466" y="348066"/>
                  </a:cubicBezTo>
                  <a:cubicBezTo>
                    <a:pt x="432926" y="241356"/>
                    <a:pt x="440516" y="188077"/>
                    <a:pt x="467155" y="81366"/>
                  </a:cubicBezTo>
                  <a:cubicBezTo>
                    <a:pt x="474746" y="43266"/>
                    <a:pt x="463286" y="9037"/>
                    <a:pt x="436646" y="1295"/>
                  </a:cubicBezTo>
                  <a:cubicBezTo>
                    <a:pt x="410005" y="-6295"/>
                    <a:pt x="379496" y="20345"/>
                    <a:pt x="371906" y="58445"/>
                  </a:cubicBezTo>
                  <a:cubicBezTo>
                    <a:pt x="345266" y="168874"/>
                    <a:pt x="333806" y="226024"/>
                    <a:pt x="322346" y="336606"/>
                  </a:cubicBezTo>
                  <a:cubicBezTo>
                    <a:pt x="307165" y="294635"/>
                    <a:pt x="291836" y="248945"/>
                    <a:pt x="269067" y="210845"/>
                  </a:cubicBezTo>
                  <a:cubicBezTo>
                    <a:pt x="211917" y="111724"/>
                    <a:pt x="128127" y="73624"/>
                    <a:pt x="78567" y="58445"/>
                  </a:cubicBezTo>
                  <a:cubicBezTo>
                    <a:pt x="63386" y="54576"/>
                    <a:pt x="44336" y="77495"/>
                    <a:pt x="40467" y="108006"/>
                  </a:cubicBezTo>
                  <a:cubicBezTo>
                    <a:pt x="36597" y="188077"/>
                    <a:pt x="51926" y="340477"/>
                    <a:pt x="120538" y="435727"/>
                  </a:cubicBezTo>
                  <a:cubicBezTo>
                    <a:pt x="181558" y="515798"/>
                    <a:pt x="261477" y="538566"/>
                    <a:pt x="311038" y="542437"/>
                  </a:cubicBezTo>
                  <a:cubicBezTo>
                    <a:pt x="311038" y="645277"/>
                    <a:pt x="314907" y="694837"/>
                    <a:pt x="330088" y="793958"/>
                  </a:cubicBezTo>
                  <a:cubicBezTo>
                    <a:pt x="307168" y="755858"/>
                    <a:pt x="280527" y="717758"/>
                    <a:pt x="246298" y="687248"/>
                  </a:cubicBezTo>
                  <a:cubicBezTo>
                    <a:pt x="166227" y="611048"/>
                    <a:pt x="74848" y="591998"/>
                    <a:pt x="25288" y="588127"/>
                  </a:cubicBezTo>
                  <a:cubicBezTo>
                    <a:pt x="6238" y="588127"/>
                    <a:pt x="-5222" y="614767"/>
                    <a:pt x="2368" y="641406"/>
                  </a:cubicBezTo>
                  <a:cubicBezTo>
                    <a:pt x="21418" y="717606"/>
                    <a:pt x="70979" y="858545"/>
                    <a:pt x="158639" y="931027"/>
                  </a:cubicBezTo>
                  <a:cubicBezTo>
                    <a:pt x="234839" y="995766"/>
                    <a:pt x="318629" y="995766"/>
                    <a:pt x="368189" y="988177"/>
                  </a:cubicBezTo>
                  <a:cubicBezTo>
                    <a:pt x="391109" y="1083427"/>
                    <a:pt x="406289" y="1132987"/>
                    <a:pt x="444389" y="1224366"/>
                  </a:cubicBezTo>
                  <a:cubicBezTo>
                    <a:pt x="413879" y="1193856"/>
                    <a:pt x="379650" y="1163345"/>
                    <a:pt x="341550" y="1140577"/>
                  </a:cubicBezTo>
                  <a:cubicBezTo>
                    <a:pt x="246300" y="1083427"/>
                    <a:pt x="151050" y="1087298"/>
                    <a:pt x="105360" y="1098606"/>
                  </a:cubicBezTo>
                  <a:cubicBezTo>
                    <a:pt x="86310" y="1102475"/>
                    <a:pt x="82441" y="1132836"/>
                    <a:pt x="93900" y="1155756"/>
                  </a:cubicBezTo>
                  <a:cubicBezTo>
                    <a:pt x="128131" y="1224366"/>
                    <a:pt x="208200" y="1346256"/>
                    <a:pt x="311040" y="1395816"/>
                  </a:cubicBezTo>
                  <a:cubicBezTo>
                    <a:pt x="398700" y="1437787"/>
                    <a:pt x="478619" y="1422456"/>
                    <a:pt x="528179" y="1403406"/>
                  </a:cubicBezTo>
                  <a:cubicBezTo>
                    <a:pt x="573869" y="1491067"/>
                    <a:pt x="600508" y="1532886"/>
                    <a:pt x="657658" y="1616827"/>
                  </a:cubicBezTo>
                  <a:cubicBezTo>
                    <a:pt x="619558" y="1593908"/>
                    <a:pt x="581458" y="1571138"/>
                    <a:pt x="535769" y="1559677"/>
                  </a:cubicBezTo>
                  <a:cubicBezTo>
                    <a:pt x="429058" y="1525447"/>
                    <a:pt x="341398" y="1552087"/>
                    <a:pt x="295708" y="1574858"/>
                  </a:cubicBezTo>
                  <a:cubicBezTo>
                    <a:pt x="280528" y="1582448"/>
                    <a:pt x="280528" y="1612958"/>
                    <a:pt x="299578" y="1632008"/>
                  </a:cubicBezTo>
                  <a:cubicBezTo>
                    <a:pt x="349138" y="1693029"/>
                    <a:pt x="455849" y="1791997"/>
                    <a:pt x="566278" y="1818637"/>
                  </a:cubicBezTo>
                  <a:cubicBezTo>
                    <a:pt x="661528" y="1841557"/>
                    <a:pt x="737728" y="1803457"/>
                    <a:pt x="779699" y="1776666"/>
                  </a:cubicBezTo>
                  <a:cubicBezTo>
                    <a:pt x="844438" y="1852866"/>
                    <a:pt x="878820" y="1887095"/>
                    <a:pt x="955020" y="1955706"/>
                  </a:cubicBezTo>
                  <a:cubicBezTo>
                    <a:pt x="913049" y="1940525"/>
                    <a:pt x="867359" y="1929065"/>
                    <a:pt x="821670" y="1929065"/>
                  </a:cubicBezTo>
                  <a:cubicBezTo>
                    <a:pt x="711241" y="1921475"/>
                    <a:pt x="631170" y="1967165"/>
                    <a:pt x="593070" y="1997676"/>
                  </a:cubicBezTo>
                  <a:cubicBezTo>
                    <a:pt x="577889" y="2009136"/>
                    <a:pt x="585480" y="2035776"/>
                    <a:pt x="608250" y="2054826"/>
                  </a:cubicBezTo>
                  <a:cubicBezTo>
                    <a:pt x="669271" y="2100515"/>
                    <a:pt x="798750" y="2176715"/>
                    <a:pt x="913050" y="2176715"/>
                  </a:cubicBezTo>
                  <a:cubicBezTo>
                    <a:pt x="1012171" y="2176715"/>
                    <a:pt x="1076911" y="2123436"/>
                    <a:pt x="1111140" y="2085336"/>
                  </a:cubicBezTo>
                  <a:cubicBezTo>
                    <a:pt x="1194929" y="2146357"/>
                    <a:pt x="1236900" y="2172997"/>
                    <a:pt x="1328279" y="2218686"/>
                  </a:cubicBezTo>
                  <a:cubicBezTo>
                    <a:pt x="1282590" y="2214817"/>
                    <a:pt x="1236900" y="2214817"/>
                    <a:pt x="1191058" y="2222556"/>
                  </a:cubicBezTo>
                  <a:cubicBezTo>
                    <a:pt x="1080629" y="2241606"/>
                    <a:pt x="1012019" y="2302627"/>
                    <a:pt x="981508" y="2340727"/>
                  </a:cubicBezTo>
                  <a:cubicBezTo>
                    <a:pt x="970049" y="2355907"/>
                    <a:pt x="985378" y="2382698"/>
                    <a:pt x="1012018" y="2394006"/>
                  </a:cubicBezTo>
                  <a:cubicBezTo>
                    <a:pt x="1084347" y="2424516"/>
                    <a:pt x="1229158" y="2470206"/>
                    <a:pt x="1343458" y="2443566"/>
                  </a:cubicBezTo>
                  <a:cubicBezTo>
                    <a:pt x="1442579" y="2420647"/>
                    <a:pt x="1491987" y="2355906"/>
                    <a:pt x="1518779" y="2310216"/>
                  </a:cubicBezTo>
                  <a:cubicBezTo>
                    <a:pt x="1560750" y="2329266"/>
                    <a:pt x="1583518" y="2336857"/>
                    <a:pt x="1629208" y="2352187"/>
                  </a:cubicBezTo>
                  <a:cubicBezTo>
                    <a:pt x="1667308" y="2363647"/>
                    <a:pt x="1705408" y="2352187"/>
                    <a:pt x="1712997" y="2325547"/>
                  </a:cubicBezTo>
                  <a:cubicBezTo>
                    <a:pt x="1724457" y="2295037"/>
                    <a:pt x="1697817" y="2264526"/>
                    <a:pt x="1663437" y="2253069"/>
                  </a:cubicBezTo>
                  <a:close/>
                </a:path>
              </a:pathLst>
            </a:custGeom>
            <a:grpFill/>
            <a:ln w="381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BDA3959-44C6-9816-AD27-3E4630C857E5}"/>
                </a:ext>
              </a:extLst>
            </p:cNvPr>
            <p:cNvSpPr/>
            <p:nvPr/>
          </p:nvSpPr>
          <p:spPr>
            <a:xfrm>
              <a:off x="-2808848" y="5695147"/>
              <a:ext cx="1717859" cy="2448149"/>
            </a:xfrm>
            <a:custGeom>
              <a:avLst/>
              <a:gdLst>
                <a:gd name="connsiteX0" fmla="*/ 1559570 w 1717859"/>
                <a:gd name="connsiteY0" fmla="*/ 931026 h 2448149"/>
                <a:gd name="connsiteX1" fmla="*/ 1715841 w 1717859"/>
                <a:gd name="connsiteY1" fmla="*/ 641405 h 2448149"/>
                <a:gd name="connsiteX2" fmla="*/ 1692922 w 1717859"/>
                <a:gd name="connsiteY2" fmla="*/ 588126 h 2448149"/>
                <a:gd name="connsiteX3" fmla="*/ 1471911 w 1717859"/>
                <a:gd name="connsiteY3" fmla="*/ 687247 h 2448149"/>
                <a:gd name="connsiteX4" fmla="*/ 1388122 w 1717859"/>
                <a:gd name="connsiteY4" fmla="*/ 793958 h 2448149"/>
                <a:gd name="connsiteX5" fmla="*/ 1407172 w 1717859"/>
                <a:gd name="connsiteY5" fmla="*/ 542437 h 2448149"/>
                <a:gd name="connsiteX6" fmla="*/ 1597672 w 1717859"/>
                <a:gd name="connsiteY6" fmla="*/ 435726 h 2448149"/>
                <a:gd name="connsiteX7" fmla="*/ 1677743 w 1717859"/>
                <a:gd name="connsiteY7" fmla="*/ 108005 h 2448149"/>
                <a:gd name="connsiteX8" fmla="*/ 1639643 w 1717859"/>
                <a:gd name="connsiteY8" fmla="*/ 58445 h 2448149"/>
                <a:gd name="connsiteX9" fmla="*/ 1449143 w 1717859"/>
                <a:gd name="connsiteY9" fmla="*/ 210845 h 2448149"/>
                <a:gd name="connsiteX10" fmla="*/ 1395864 w 1717859"/>
                <a:gd name="connsiteY10" fmla="*/ 336605 h 2448149"/>
                <a:gd name="connsiteX11" fmla="*/ 1346303 w 1717859"/>
                <a:gd name="connsiteY11" fmla="*/ 58445 h 2448149"/>
                <a:gd name="connsiteX12" fmla="*/ 1281564 w 1717859"/>
                <a:gd name="connsiteY12" fmla="*/ 1295 h 2448149"/>
                <a:gd name="connsiteX13" fmla="*/ 1251054 w 1717859"/>
                <a:gd name="connsiteY13" fmla="*/ 81366 h 2448149"/>
                <a:gd name="connsiteX14" fmla="*/ 1296743 w 1717859"/>
                <a:gd name="connsiteY14" fmla="*/ 348066 h 2448149"/>
                <a:gd name="connsiteX15" fmla="*/ 1212954 w 1717859"/>
                <a:gd name="connsiteY15" fmla="*/ 248945 h 2448149"/>
                <a:gd name="connsiteX16" fmla="*/ 984354 w 1717859"/>
                <a:gd name="connsiteY16" fmla="*/ 203255 h 2448149"/>
                <a:gd name="connsiteX17" fmla="*/ 965304 w 1717859"/>
                <a:gd name="connsiteY17" fmla="*/ 245226 h 2448149"/>
                <a:gd name="connsiteX18" fmla="*/ 1110114 w 1717859"/>
                <a:gd name="connsiteY18" fmla="*/ 458647 h 2448149"/>
                <a:gd name="connsiteX19" fmla="*/ 1304485 w 1717859"/>
                <a:gd name="connsiteY19" fmla="*/ 542437 h 2448149"/>
                <a:gd name="connsiteX20" fmla="*/ 1285435 w 1717859"/>
                <a:gd name="connsiteY20" fmla="*/ 782497 h 2448149"/>
                <a:gd name="connsiteX21" fmla="*/ 1228285 w 1717859"/>
                <a:gd name="connsiteY21" fmla="*/ 668197 h 2448149"/>
                <a:gd name="connsiteX22" fmla="*/ 1018735 w 1717859"/>
                <a:gd name="connsiteY22" fmla="*/ 572947 h 2448149"/>
                <a:gd name="connsiteX23" fmla="*/ 992095 w 1717859"/>
                <a:gd name="connsiteY23" fmla="*/ 607178 h 2448149"/>
                <a:gd name="connsiteX24" fmla="*/ 1083474 w 1717859"/>
                <a:gd name="connsiteY24" fmla="*/ 839649 h 2448149"/>
                <a:gd name="connsiteX25" fmla="*/ 1254924 w 1717859"/>
                <a:gd name="connsiteY25" fmla="*/ 965409 h 2448149"/>
                <a:gd name="connsiteX26" fmla="*/ 1182595 w 1717859"/>
                <a:gd name="connsiteY26" fmla="*/ 1190139 h 2448149"/>
                <a:gd name="connsiteX27" fmla="*/ 1152085 w 1717859"/>
                <a:gd name="connsiteY27" fmla="*/ 1068249 h 2448149"/>
                <a:gd name="connsiteX28" fmla="*/ 969175 w 1717859"/>
                <a:gd name="connsiteY28" fmla="*/ 927309 h 2448149"/>
                <a:gd name="connsiteX29" fmla="*/ 934944 w 1717859"/>
                <a:gd name="connsiteY29" fmla="*/ 953950 h 2448149"/>
                <a:gd name="connsiteX30" fmla="*/ 969175 w 1717859"/>
                <a:gd name="connsiteY30" fmla="*/ 1197729 h 2448149"/>
                <a:gd name="connsiteX31" fmla="*/ 1106396 w 1717859"/>
                <a:gd name="connsiteY31" fmla="*/ 1361589 h 2448149"/>
                <a:gd name="connsiteX32" fmla="*/ 984506 w 1717859"/>
                <a:gd name="connsiteY32" fmla="*/ 1563550 h 2448149"/>
                <a:gd name="connsiteX33" fmla="*/ 980637 w 1717859"/>
                <a:gd name="connsiteY33" fmla="*/ 1437789 h 2448149"/>
                <a:gd name="connsiteX34" fmla="*/ 835826 w 1717859"/>
                <a:gd name="connsiteY34" fmla="*/ 1258750 h 2448149"/>
                <a:gd name="connsiteX35" fmla="*/ 793855 w 1717859"/>
                <a:gd name="connsiteY35" fmla="*/ 1277800 h 2448149"/>
                <a:gd name="connsiteX36" fmla="*/ 770936 w 1717859"/>
                <a:gd name="connsiteY36" fmla="*/ 1525450 h 2448149"/>
                <a:gd name="connsiteX37" fmla="*/ 866186 w 1717859"/>
                <a:gd name="connsiteY37" fmla="*/ 1715950 h 2448149"/>
                <a:gd name="connsiteX38" fmla="*/ 698607 w 1717859"/>
                <a:gd name="connsiteY38" fmla="*/ 1883529 h 2448149"/>
                <a:gd name="connsiteX39" fmla="*/ 725247 w 1717859"/>
                <a:gd name="connsiteY39" fmla="*/ 1761639 h 2448149"/>
                <a:gd name="connsiteX40" fmla="*/ 626126 w 1717859"/>
                <a:gd name="connsiteY40" fmla="*/ 1552089 h 2448149"/>
                <a:gd name="connsiteX41" fmla="*/ 580437 w 1717859"/>
                <a:gd name="connsiteY41" fmla="*/ 1559679 h 2448149"/>
                <a:gd name="connsiteX42" fmla="*/ 500366 w 1717859"/>
                <a:gd name="connsiteY42" fmla="*/ 1795869 h 2448149"/>
                <a:gd name="connsiteX43" fmla="*/ 546055 w 1717859"/>
                <a:gd name="connsiteY43" fmla="*/ 2001548 h 2448149"/>
                <a:gd name="connsiteX44" fmla="*/ 340376 w 1717859"/>
                <a:gd name="connsiteY44" fmla="*/ 2131027 h 2448149"/>
                <a:gd name="connsiteX45" fmla="*/ 397526 w 1717859"/>
                <a:gd name="connsiteY45" fmla="*/ 2016727 h 2448149"/>
                <a:gd name="connsiteX46" fmla="*/ 351837 w 1717859"/>
                <a:gd name="connsiteY46" fmla="*/ 1788127 h 2448149"/>
                <a:gd name="connsiteX47" fmla="*/ 306147 w 1717859"/>
                <a:gd name="connsiteY47" fmla="*/ 1788127 h 2448149"/>
                <a:gd name="connsiteX48" fmla="*/ 165208 w 1717859"/>
                <a:gd name="connsiteY48" fmla="*/ 2001548 h 2448149"/>
                <a:gd name="connsiteX49" fmla="*/ 157617 w 1717859"/>
                <a:gd name="connsiteY49" fmla="*/ 2214969 h 2448149"/>
                <a:gd name="connsiteX50" fmla="*/ 54778 w 1717859"/>
                <a:gd name="connsiteY50" fmla="*/ 2253069 h 2448149"/>
                <a:gd name="connsiteX51" fmla="*/ 1499 w 1717859"/>
                <a:gd name="connsiteY51" fmla="*/ 2321680 h 2448149"/>
                <a:gd name="connsiteX52" fmla="*/ 85288 w 1717859"/>
                <a:gd name="connsiteY52" fmla="*/ 2348320 h 2448149"/>
                <a:gd name="connsiteX53" fmla="*/ 195717 w 1717859"/>
                <a:gd name="connsiteY53" fmla="*/ 2306349 h 2448149"/>
                <a:gd name="connsiteX54" fmla="*/ 371038 w 1717859"/>
                <a:gd name="connsiteY54" fmla="*/ 2439699 h 2448149"/>
                <a:gd name="connsiteX55" fmla="*/ 702478 w 1717859"/>
                <a:gd name="connsiteY55" fmla="*/ 2390138 h 2448149"/>
                <a:gd name="connsiteX56" fmla="*/ 732988 w 1717859"/>
                <a:gd name="connsiteY56" fmla="*/ 2336859 h 2448149"/>
                <a:gd name="connsiteX57" fmla="*/ 523438 w 1717859"/>
                <a:gd name="connsiteY57" fmla="*/ 2218688 h 2448149"/>
                <a:gd name="connsiteX58" fmla="*/ 386217 w 1717859"/>
                <a:gd name="connsiteY58" fmla="*/ 2214819 h 2448149"/>
                <a:gd name="connsiteX59" fmla="*/ 603356 w 1717859"/>
                <a:gd name="connsiteY59" fmla="*/ 2081469 h 2448149"/>
                <a:gd name="connsiteX60" fmla="*/ 801446 w 1717859"/>
                <a:gd name="connsiteY60" fmla="*/ 2172848 h 2448149"/>
                <a:gd name="connsiteX61" fmla="*/ 1106246 w 1717859"/>
                <a:gd name="connsiteY61" fmla="*/ 2050959 h 2448149"/>
                <a:gd name="connsiteX62" fmla="*/ 1121426 w 1717859"/>
                <a:gd name="connsiteY62" fmla="*/ 1993809 h 2448149"/>
                <a:gd name="connsiteX63" fmla="*/ 892826 w 1717859"/>
                <a:gd name="connsiteY63" fmla="*/ 1925198 h 2448149"/>
                <a:gd name="connsiteX64" fmla="*/ 759476 w 1717859"/>
                <a:gd name="connsiteY64" fmla="*/ 1951838 h 2448149"/>
                <a:gd name="connsiteX65" fmla="*/ 934797 w 1717859"/>
                <a:gd name="connsiteY65" fmla="*/ 1772799 h 2448149"/>
                <a:gd name="connsiteX66" fmla="*/ 1148218 w 1717859"/>
                <a:gd name="connsiteY66" fmla="*/ 1814770 h 2448149"/>
                <a:gd name="connsiteX67" fmla="*/ 1414918 w 1717859"/>
                <a:gd name="connsiteY67" fmla="*/ 1628141 h 2448149"/>
                <a:gd name="connsiteX68" fmla="*/ 1418788 w 1717859"/>
                <a:gd name="connsiteY68" fmla="*/ 1570991 h 2448149"/>
                <a:gd name="connsiteX69" fmla="*/ 1178727 w 1717859"/>
                <a:gd name="connsiteY69" fmla="*/ 1555810 h 2448149"/>
                <a:gd name="connsiteX70" fmla="*/ 1056838 w 1717859"/>
                <a:gd name="connsiteY70" fmla="*/ 1612960 h 2448149"/>
                <a:gd name="connsiteX71" fmla="*/ 1186317 w 1717859"/>
                <a:gd name="connsiteY71" fmla="*/ 1399539 h 2448149"/>
                <a:gd name="connsiteX72" fmla="*/ 1403456 w 1717859"/>
                <a:gd name="connsiteY72" fmla="*/ 1391949 h 2448149"/>
                <a:gd name="connsiteX73" fmla="*/ 1620596 w 1717859"/>
                <a:gd name="connsiteY73" fmla="*/ 1151888 h 2448149"/>
                <a:gd name="connsiteX74" fmla="*/ 1609136 w 1717859"/>
                <a:gd name="connsiteY74" fmla="*/ 1094738 h 2448149"/>
                <a:gd name="connsiteX75" fmla="*/ 1372946 w 1717859"/>
                <a:gd name="connsiteY75" fmla="*/ 1136709 h 2448149"/>
                <a:gd name="connsiteX76" fmla="*/ 1270107 w 1717859"/>
                <a:gd name="connsiteY76" fmla="*/ 1220499 h 2448149"/>
                <a:gd name="connsiteX77" fmla="*/ 1346307 w 1717859"/>
                <a:gd name="connsiteY77" fmla="*/ 984309 h 2448149"/>
                <a:gd name="connsiteX78" fmla="*/ 1559579 w 1717859"/>
                <a:gd name="connsiteY78" fmla="*/ 931030 h 244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7859" h="2448149">
                  <a:moveTo>
                    <a:pt x="1559570" y="931026"/>
                  </a:moveTo>
                  <a:cubicBezTo>
                    <a:pt x="1647231" y="858697"/>
                    <a:pt x="1696791" y="717605"/>
                    <a:pt x="1715841" y="641405"/>
                  </a:cubicBezTo>
                  <a:cubicBezTo>
                    <a:pt x="1723431" y="614765"/>
                    <a:pt x="1708251" y="584255"/>
                    <a:pt x="1692922" y="588126"/>
                  </a:cubicBezTo>
                  <a:cubicBezTo>
                    <a:pt x="1643361" y="588126"/>
                    <a:pt x="1551982" y="607176"/>
                    <a:pt x="1471911" y="687247"/>
                  </a:cubicBezTo>
                  <a:cubicBezTo>
                    <a:pt x="1441402" y="717757"/>
                    <a:pt x="1410890" y="755858"/>
                    <a:pt x="1388122" y="793958"/>
                  </a:cubicBezTo>
                  <a:cubicBezTo>
                    <a:pt x="1403302" y="694837"/>
                    <a:pt x="1407172" y="645429"/>
                    <a:pt x="1407172" y="542437"/>
                  </a:cubicBezTo>
                  <a:cubicBezTo>
                    <a:pt x="1460451" y="534847"/>
                    <a:pt x="1540522" y="515797"/>
                    <a:pt x="1597672" y="435726"/>
                  </a:cubicBezTo>
                  <a:cubicBezTo>
                    <a:pt x="1666282" y="344347"/>
                    <a:pt x="1681461" y="191947"/>
                    <a:pt x="1677743" y="108005"/>
                  </a:cubicBezTo>
                  <a:cubicBezTo>
                    <a:pt x="1677743" y="77496"/>
                    <a:pt x="1658693" y="54726"/>
                    <a:pt x="1639643" y="58445"/>
                  </a:cubicBezTo>
                  <a:cubicBezTo>
                    <a:pt x="1593953" y="73626"/>
                    <a:pt x="1506293" y="111724"/>
                    <a:pt x="1449143" y="210845"/>
                  </a:cubicBezTo>
                  <a:cubicBezTo>
                    <a:pt x="1426223" y="248945"/>
                    <a:pt x="1407172" y="294635"/>
                    <a:pt x="1395864" y="336605"/>
                  </a:cubicBezTo>
                  <a:cubicBezTo>
                    <a:pt x="1384404" y="226176"/>
                    <a:pt x="1376814" y="169026"/>
                    <a:pt x="1346303" y="58445"/>
                  </a:cubicBezTo>
                  <a:cubicBezTo>
                    <a:pt x="1334843" y="20345"/>
                    <a:pt x="1304332" y="-6295"/>
                    <a:pt x="1281564" y="1295"/>
                  </a:cubicBezTo>
                  <a:cubicBezTo>
                    <a:pt x="1254923" y="8885"/>
                    <a:pt x="1243464" y="46984"/>
                    <a:pt x="1251054" y="81366"/>
                  </a:cubicBezTo>
                  <a:cubicBezTo>
                    <a:pt x="1277694" y="188076"/>
                    <a:pt x="1285284" y="241355"/>
                    <a:pt x="1296743" y="348066"/>
                  </a:cubicBezTo>
                  <a:cubicBezTo>
                    <a:pt x="1273824" y="309966"/>
                    <a:pt x="1247183" y="275737"/>
                    <a:pt x="1212954" y="248945"/>
                  </a:cubicBezTo>
                  <a:cubicBezTo>
                    <a:pt x="1129164" y="184205"/>
                    <a:pt x="1033914" y="191795"/>
                    <a:pt x="984354" y="203255"/>
                  </a:cubicBezTo>
                  <a:cubicBezTo>
                    <a:pt x="965304" y="207125"/>
                    <a:pt x="957714" y="226175"/>
                    <a:pt x="965304" y="245226"/>
                  </a:cubicBezTo>
                  <a:cubicBezTo>
                    <a:pt x="988223" y="294787"/>
                    <a:pt x="1033914" y="390037"/>
                    <a:pt x="1110114" y="458647"/>
                  </a:cubicBezTo>
                  <a:cubicBezTo>
                    <a:pt x="1174854" y="515797"/>
                    <a:pt x="1254925" y="538718"/>
                    <a:pt x="1304485" y="542437"/>
                  </a:cubicBezTo>
                  <a:cubicBezTo>
                    <a:pt x="1304485" y="637687"/>
                    <a:pt x="1300616" y="687247"/>
                    <a:pt x="1285435" y="782497"/>
                  </a:cubicBezTo>
                  <a:cubicBezTo>
                    <a:pt x="1273976" y="740526"/>
                    <a:pt x="1254926" y="702426"/>
                    <a:pt x="1228285" y="668197"/>
                  </a:cubicBezTo>
                  <a:cubicBezTo>
                    <a:pt x="1163546" y="588126"/>
                    <a:pt x="1068296" y="572947"/>
                    <a:pt x="1018735" y="572947"/>
                  </a:cubicBezTo>
                  <a:cubicBezTo>
                    <a:pt x="999685" y="572947"/>
                    <a:pt x="988225" y="588128"/>
                    <a:pt x="992095" y="607178"/>
                  </a:cubicBezTo>
                  <a:cubicBezTo>
                    <a:pt x="1003555" y="660457"/>
                    <a:pt x="1022605" y="759578"/>
                    <a:pt x="1083474" y="839649"/>
                  </a:cubicBezTo>
                  <a:cubicBezTo>
                    <a:pt x="1133035" y="908259"/>
                    <a:pt x="1205364" y="946359"/>
                    <a:pt x="1254924" y="965409"/>
                  </a:cubicBezTo>
                  <a:cubicBezTo>
                    <a:pt x="1232005" y="1056789"/>
                    <a:pt x="1216824" y="1102630"/>
                    <a:pt x="1182595" y="1190139"/>
                  </a:cubicBezTo>
                  <a:cubicBezTo>
                    <a:pt x="1178726" y="1148168"/>
                    <a:pt x="1171135" y="1106349"/>
                    <a:pt x="1152085" y="1068249"/>
                  </a:cubicBezTo>
                  <a:cubicBezTo>
                    <a:pt x="1106396" y="976870"/>
                    <a:pt x="1014864" y="942489"/>
                    <a:pt x="969175" y="927309"/>
                  </a:cubicBezTo>
                  <a:cubicBezTo>
                    <a:pt x="953994" y="923440"/>
                    <a:pt x="934944" y="934900"/>
                    <a:pt x="934944" y="953950"/>
                  </a:cubicBezTo>
                  <a:cubicBezTo>
                    <a:pt x="931075" y="1007229"/>
                    <a:pt x="931075" y="1110221"/>
                    <a:pt x="969175" y="1197729"/>
                  </a:cubicBezTo>
                  <a:cubicBezTo>
                    <a:pt x="1003405" y="1277800"/>
                    <a:pt x="1060554" y="1331079"/>
                    <a:pt x="1106396" y="1361589"/>
                  </a:cubicBezTo>
                  <a:cubicBezTo>
                    <a:pt x="1064425" y="1445379"/>
                    <a:pt x="1037785" y="1487350"/>
                    <a:pt x="984506" y="1563550"/>
                  </a:cubicBezTo>
                  <a:cubicBezTo>
                    <a:pt x="992096" y="1521579"/>
                    <a:pt x="992096" y="1479760"/>
                    <a:pt x="980637" y="1437789"/>
                  </a:cubicBezTo>
                  <a:cubicBezTo>
                    <a:pt x="957717" y="1338668"/>
                    <a:pt x="877797" y="1281518"/>
                    <a:pt x="835826" y="1258750"/>
                  </a:cubicBezTo>
                  <a:cubicBezTo>
                    <a:pt x="820646" y="1251160"/>
                    <a:pt x="801596" y="1258750"/>
                    <a:pt x="793855" y="1277800"/>
                  </a:cubicBezTo>
                  <a:cubicBezTo>
                    <a:pt x="778675" y="1327360"/>
                    <a:pt x="755755" y="1426329"/>
                    <a:pt x="770936" y="1525450"/>
                  </a:cubicBezTo>
                  <a:cubicBezTo>
                    <a:pt x="786117" y="1609239"/>
                    <a:pt x="831957" y="1677850"/>
                    <a:pt x="866186" y="1715950"/>
                  </a:cubicBezTo>
                  <a:cubicBezTo>
                    <a:pt x="805165" y="1788279"/>
                    <a:pt x="770936" y="1822660"/>
                    <a:pt x="698607" y="1883529"/>
                  </a:cubicBezTo>
                  <a:cubicBezTo>
                    <a:pt x="713788" y="1845429"/>
                    <a:pt x="725247" y="1803458"/>
                    <a:pt x="725247" y="1761639"/>
                  </a:cubicBezTo>
                  <a:cubicBezTo>
                    <a:pt x="725247" y="1658800"/>
                    <a:pt x="660508" y="1586318"/>
                    <a:pt x="626126" y="1552089"/>
                  </a:cubicBezTo>
                  <a:cubicBezTo>
                    <a:pt x="614667" y="1540629"/>
                    <a:pt x="591896" y="1544499"/>
                    <a:pt x="580437" y="1559679"/>
                  </a:cubicBezTo>
                  <a:cubicBezTo>
                    <a:pt x="553796" y="1605369"/>
                    <a:pt x="508108" y="1696900"/>
                    <a:pt x="500366" y="1795869"/>
                  </a:cubicBezTo>
                  <a:cubicBezTo>
                    <a:pt x="492775" y="1883529"/>
                    <a:pt x="523285" y="1955859"/>
                    <a:pt x="546055" y="2001548"/>
                  </a:cubicBezTo>
                  <a:cubicBezTo>
                    <a:pt x="469855" y="2058698"/>
                    <a:pt x="427884" y="2085338"/>
                    <a:pt x="340376" y="2131027"/>
                  </a:cubicBezTo>
                  <a:cubicBezTo>
                    <a:pt x="367017" y="2096797"/>
                    <a:pt x="389937" y="2058698"/>
                    <a:pt x="397526" y="2016727"/>
                  </a:cubicBezTo>
                  <a:cubicBezTo>
                    <a:pt x="424167" y="1913888"/>
                    <a:pt x="378476" y="1830098"/>
                    <a:pt x="351837" y="1788127"/>
                  </a:cubicBezTo>
                  <a:cubicBezTo>
                    <a:pt x="344246" y="1772947"/>
                    <a:pt x="321327" y="1772947"/>
                    <a:pt x="306147" y="1788127"/>
                  </a:cubicBezTo>
                  <a:cubicBezTo>
                    <a:pt x="268047" y="1826227"/>
                    <a:pt x="199437" y="1906298"/>
                    <a:pt x="165208" y="2001548"/>
                  </a:cubicBezTo>
                  <a:cubicBezTo>
                    <a:pt x="134698" y="2085338"/>
                    <a:pt x="146158" y="2165409"/>
                    <a:pt x="157617" y="2214969"/>
                  </a:cubicBezTo>
                  <a:cubicBezTo>
                    <a:pt x="115646" y="2230150"/>
                    <a:pt x="96596" y="2237888"/>
                    <a:pt x="54778" y="2253069"/>
                  </a:cubicBezTo>
                  <a:cubicBezTo>
                    <a:pt x="16678" y="2264529"/>
                    <a:pt x="-6243" y="2295040"/>
                    <a:pt x="1499" y="2321680"/>
                  </a:cubicBezTo>
                  <a:cubicBezTo>
                    <a:pt x="9089" y="2348320"/>
                    <a:pt x="47188" y="2359780"/>
                    <a:pt x="85288" y="2348320"/>
                  </a:cubicBezTo>
                  <a:cubicBezTo>
                    <a:pt x="130978" y="2333139"/>
                    <a:pt x="150028" y="2325401"/>
                    <a:pt x="195717" y="2306349"/>
                  </a:cubicBezTo>
                  <a:cubicBezTo>
                    <a:pt x="222358" y="2352038"/>
                    <a:pt x="271917" y="2416778"/>
                    <a:pt x="371038" y="2439699"/>
                  </a:cubicBezTo>
                  <a:cubicBezTo>
                    <a:pt x="485338" y="2466339"/>
                    <a:pt x="630149" y="2424518"/>
                    <a:pt x="702478" y="2390138"/>
                  </a:cubicBezTo>
                  <a:cubicBezTo>
                    <a:pt x="729118" y="2378679"/>
                    <a:pt x="744449" y="2352038"/>
                    <a:pt x="732988" y="2336859"/>
                  </a:cubicBezTo>
                  <a:cubicBezTo>
                    <a:pt x="702478" y="2298759"/>
                    <a:pt x="633867" y="2234020"/>
                    <a:pt x="523438" y="2218688"/>
                  </a:cubicBezTo>
                  <a:cubicBezTo>
                    <a:pt x="477748" y="2211098"/>
                    <a:pt x="432059" y="2211098"/>
                    <a:pt x="386217" y="2214819"/>
                  </a:cubicBezTo>
                  <a:cubicBezTo>
                    <a:pt x="477596" y="2165259"/>
                    <a:pt x="519567" y="2138619"/>
                    <a:pt x="603356" y="2081469"/>
                  </a:cubicBezTo>
                  <a:cubicBezTo>
                    <a:pt x="637587" y="2119569"/>
                    <a:pt x="702477" y="2172848"/>
                    <a:pt x="801446" y="2172848"/>
                  </a:cubicBezTo>
                  <a:cubicBezTo>
                    <a:pt x="915746" y="2172848"/>
                    <a:pt x="1045225" y="2100519"/>
                    <a:pt x="1106246" y="2050959"/>
                  </a:cubicBezTo>
                  <a:cubicBezTo>
                    <a:pt x="1129165" y="2035778"/>
                    <a:pt x="1136755" y="2005269"/>
                    <a:pt x="1121426" y="1993809"/>
                  </a:cubicBezTo>
                  <a:cubicBezTo>
                    <a:pt x="1083326" y="1963299"/>
                    <a:pt x="999537" y="1917609"/>
                    <a:pt x="892826" y="1925198"/>
                  </a:cubicBezTo>
                  <a:cubicBezTo>
                    <a:pt x="847137" y="1929067"/>
                    <a:pt x="801447" y="1940379"/>
                    <a:pt x="759476" y="1951838"/>
                  </a:cubicBezTo>
                  <a:cubicBezTo>
                    <a:pt x="835676" y="1883228"/>
                    <a:pt x="869905" y="1848999"/>
                    <a:pt x="934797" y="1772799"/>
                  </a:cubicBezTo>
                  <a:cubicBezTo>
                    <a:pt x="976768" y="1803309"/>
                    <a:pt x="1052968" y="1837538"/>
                    <a:pt x="1148218" y="1814770"/>
                  </a:cubicBezTo>
                  <a:cubicBezTo>
                    <a:pt x="1258647" y="1791850"/>
                    <a:pt x="1365358" y="1689009"/>
                    <a:pt x="1414918" y="1628141"/>
                  </a:cubicBezTo>
                  <a:cubicBezTo>
                    <a:pt x="1433968" y="1605221"/>
                    <a:pt x="1433968" y="1578580"/>
                    <a:pt x="1418788" y="1570991"/>
                  </a:cubicBezTo>
                  <a:cubicBezTo>
                    <a:pt x="1373098" y="1548071"/>
                    <a:pt x="1285438" y="1525301"/>
                    <a:pt x="1178727" y="1555810"/>
                  </a:cubicBezTo>
                  <a:cubicBezTo>
                    <a:pt x="1136756" y="1567270"/>
                    <a:pt x="1094938" y="1590041"/>
                    <a:pt x="1056838" y="1612960"/>
                  </a:cubicBezTo>
                  <a:cubicBezTo>
                    <a:pt x="1113988" y="1532889"/>
                    <a:pt x="1140627" y="1487200"/>
                    <a:pt x="1186317" y="1399539"/>
                  </a:cubicBezTo>
                  <a:cubicBezTo>
                    <a:pt x="1235877" y="1418589"/>
                    <a:pt x="1315796" y="1437639"/>
                    <a:pt x="1403456" y="1391949"/>
                  </a:cubicBezTo>
                  <a:cubicBezTo>
                    <a:pt x="1506296" y="1342388"/>
                    <a:pt x="1586367" y="1220499"/>
                    <a:pt x="1620596" y="1151888"/>
                  </a:cubicBezTo>
                  <a:cubicBezTo>
                    <a:pt x="1632055" y="1125248"/>
                    <a:pt x="1628186" y="1098609"/>
                    <a:pt x="1609136" y="1094738"/>
                  </a:cubicBezTo>
                  <a:cubicBezTo>
                    <a:pt x="1559576" y="1083279"/>
                    <a:pt x="1468196" y="1079558"/>
                    <a:pt x="1372946" y="1136709"/>
                  </a:cubicBezTo>
                  <a:cubicBezTo>
                    <a:pt x="1334846" y="1159629"/>
                    <a:pt x="1300617" y="1189988"/>
                    <a:pt x="1270107" y="1220499"/>
                  </a:cubicBezTo>
                  <a:cubicBezTo>
                    <a:pt x="1308207" y="1129120"/>
                    <a:pt x="1323386" y="1079559"/>
                    <a:pt x="1346307" y="984309"/>
                  </a:cubicBezTo>
                  <a:cubicBezTo>
                    <a:pt x="1399586" y="992048"/>
                    <a:pt x="1483379" y="992048"/>
                    <a:pt x="1559579" y="931030"/>
                  </a:cubicBezTo>
                  <a:close/>
                </a:path>
              </a:pathLst>
            </a:custGeom>
            <a:grpFill/>
            <a:ln w="381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D507F1F3-5550-D738-7F4A-6F86A88834BA}"/>
                </a:ext>
              </a:extLst>
            </p:cNvPr>
            <p:cNvSpPr/>
            <p:nvPr/>
          </p:nvSpPr>
          <p:spPr>
            <a:xfrm>
              <a:off x="-3691564" y="5577188"/>
              <a:ext cx="1571420" cy="1900520"/>
            </a:xfrm>
            <a:custGeom>
              <a:avLst/>
              <a:gdLst>
                <a:gd name="connsiteX0" fmla="*/ 1565986 w 1571420"/>
                <a:gd name="connsiteY0" fmla="*/ 694808 h 1900520"/>
                <a:gd name="connsiteX1" fmla="*/ 876300 w 1571420"/>
                <a:gd name="connsiteY1" fmla="*/ 5121 h 1900520"/>
                <a:gd name="connsiteX2" fmla="*/ 0 w 1571420"/>
                <a:gd name="connsiteY2" fmla="*/ 782285 h 1900520"/>
                <a:gd name="connsiteX3" fmla="*/ 552450 w 1571420"/>
                <a:gd name="connsiteY3" fmla="*/ 1529121 h 1900520"/>
                <a:gd name="connsiteX4" fmla="*/ 720029 w 1571420"/>
                <a:gd name="connsiteY4" fmla="*/ 1860561 h 1900520"/>
                <a:gd name="connsiteX5" fmla="*/ 849508 w 1571420"/>
                <a:gd name="connsiteY5" fmla="*/ 1860561 h 1900520"/>
                <a:gd name="connsiteX6" fmla="*/ 1017087 w 1571420"/>
                <a:gd name="connsiteY6" fmla="*/ 1529121 h 1900520"/>
                <a:gd name="connsiteX7" fmla="*/ 1565956 w 1571420"/>
                <a:gd name="connsiteY7" fmla="*/ 694808 h 1900520"/>
                <a:gd name="connsiteX8" fmla="*/ 986904 w 1571420"/>
                <a:gd name="connsiteY8" fmla="*/ 1159589 h 1900520"/>
                <a:gd name="connsiteX9" fmla="*/ 807865 w 1571420"/>
                <a:gd name="connsiteY9" fmla="*/ 1056750 h 1900520"/>
                <a:gd name="connsiteX10" fmla="*/ 773634 w 1571420"/>
                <a:gd name="connsiteY10" fmla="*/ 1056750 h 1900520"/>
                <a:gd name="connsiteX11" fmla="*/ 594595 w 1571420"/>
                <a:gd name="connsiteY11" fmla="*/ 1159589 h 1900520"/>
                <a:gd name="connsiteX12" fmla="*/ 510805 w 1571420"/>
                <a:gd name="connsiteY12" fmla="*/ 1098569 h 1900520"/>
                <a:gd name="connsiteX13" fmla="*/ 552776 w 1571420"/>
                <a:gd name="connsiteY13" fmla="*/ 896608 h 1900520"/>
                <a:gd name="connsiteX14" fmla="*/ 541316 w 1571420"/>
                <a:gd name="connsiteY14" fmla="*/ 862378 h 1900520"/>
                <a:gd name="connsiteX15" fmla="*/ 388916 w 1571420"/>
                <a:gd name="connsiteY15" fmla="*/ 721438 h 1900520"/>
                <a:gd name="connsiteX16" fmla="*/ 423147 w 1571420"/>
                <a:gd name="connsiteY16" fmla="*/ 622317 h 1900520"/>
                <a:gd name="connsiteX17" fmla="*/ 628826 w 1571420"/>
                <a:gd name="connsiteY17" fmla="*/ 599398 h 1900520"/>
                <a:gd name="connsiteX18" fmla="*/ 655466 w 1571420"/>
                <a:gd name="connsiteY18" fmla="*/ 580348 h 1900520"/>
                <a:gd name="connsiteX19" fmla="*/ 739256 w 1571420"/>
                <a:gd name="connsiteY19" fmla="*/ 389848 h 1900520"/>
                <a:gd name="connsiteX20" fmla="*/ 845966 w 1571420"/>
                <a:gd name="connsiteY20" fmla="*/ 389848 h 1900520"/>
                <a:gd name="connsiteX21" fmla="*/ 933627 w 1571420"/>
                <a:gd name="connsiteY21" fmla="*/ 580348 h 1900520"/>
                <a:gd name="connsiteX22" fmla="*/ 960267 w 1571420"/>
                <a:gd name="connsiteY22" fmla="*/ 599398 h 1900520"/>
                <a:gd name="connsiteX23" fmla="*/ 1165946 w 1571420"/>
                <a:gd name="connsiteY23" fmla="*/ 622317 h 1900520"/>
                <a:gd name="connsiteX24" fmla="*/ 1200177 w 1571420"/>
                <a:gd name="connsiteY24" fmla="*/ 721438 h 1900520"/>
                <a:gd name="connsiteX25" fmla="*/ 1047777 w 1571420"/>
                <a:gd name="connsiteY25" fmla="*/ 862378 h 1900520"/>
                <a:gd name="connsiteX26" fmla="*/ 1036317 w 1571420"/>
                <a:gd name="connsiteY26" fmla="*/ 896608 h 1900520"/>
                <a:gd name="connsiteX27" fmla="*/ 1078288 w 1571420"/>
                <a:gd name="connsiteY27" fmla="*/ 1098569 h 1900520"/>
                <a:gd name="connsiteX28" fmla="*/ 986909 w 1571420"/>
                <a:gd name="connsiteY28" fmla="*/ 1159589 h 190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71420" h="1900520">
                  <a:moveTo>
                    <a:pt x="1565986" y="694808"/>
                  </a:moveTo>
                  <a:cubicBezTo>
                    <a:pt x="1527886" y="336729"/>
                    <a:pt x="1234547" y="47108"/>
                    <a:pt x="876300" y="5121"/>
                  </a:cubicBezTo>
                  <a:cubicBezTo>
                    <a:pt x="403936" y="-48158"/>
                    <a:pt x="0" y="321382"/>
                    <a:pt x="0" y="782285"/>
                  </a:cubicBezTo>
                  <a:cubicBezTo>
                    <a:pt x="0" y="1132775"/>
                    <a:pt x="232471" y="1429985"/>
                    <a:pt x="552450" y="1529121"/>
                  </a:cubicBezTo>
                  <a:lnTo>
                    <a:pt x="720029" y="1860561"/>
                  </a:lnTo>
                  <a:cubicBezTo>
                    <a:pt x="746669" y="1913840"/>
                    <a:pt x="822869" y="1913840"/>
                    <a:pt x="849508" y="1860561"/>
                  </a:cubicBezTo>
                  <a:lnTo>
                    <a:pt x="1017087" y="1529121"/>
                  </a:lnTo>
                  <a:cubicBezTo>
                    <a:pt x="1364155" y="1418692"/>
                    <a:pt x="1611790" y="1083389"/>
                    <a:pt x="1565956" y="694808"/>
                  </a:cubicBezTo>
                  <a:close/>
                  <a:moveTo>
                    <a:pt x="986904" y="1159589"/>
                  </a:moveTo>
                  <a:lnTo>
                    <a:pt x="807865" y="1056750"/>
                  </a:lnTo>
                  <a:cubicBezTo>
                    <a:pt x="796405" y="1049160"/>
                    <a:pt x="784945" y="1049160"/>
                    <a:pt x="773634" y="1056750"/>
                  </a:cubicBezTo>
                  <a:lnTo>
                    <a:pt x="594595" y="1159589"/>
                  </a:lnTo>
                  <a:cubicBezTo>
                    <a:pt x="552624" y="1182509"/>
                    <a:pt x="499345" y="1148130"/>
                    <a:pt x="510805" y="1098569"/>
                  </a:cubicBezTo>
                  <a:lnTo>
                    <a:pt x="552776" y="896608"/>
                  </a:lnTo>
                  <a:cubicBezTo>
                    <a:pt x="556646" y="885148"/>
                    <a:pt x="552776" y="873689"/>
                    <a:pt x="541316" y="862378"/>
                  </a:cubicBezTo>
                  <a:lnTo>
                    <a:pt x="388916" y="721438"/>
                  </a:lnTo>
                  <a:cubicBezTo>
                    <a:pt x="350816" y="687207"/>
                    <a:pt x="373736" y="626188"/>
                    <a:pt x="423147" y="622317"/>
                  </a:cubicBezTo>
                  <a:lnTo>
                    <a:pt x="628826" y="599398"/>
                  </a:lnTo>
                  <a:cubicBezTo>
                    <a:pt x="640286" y="599398"/>
                    <a:pt x="651745" y="591807"/>
                    <a:pt x="655466" y="580348"/>
                  </a:cubicBezTo>
                  <a:lnTo>
                    <a:pt x="739256" y="389848"/>
                  </a:lnTo>
                  <a:cubicBezTo>
                    <a:pt x="758306" y="344158"/>
                    <a:pt x="823045" y="344158"/>
                    <a:pt x="845966" y="389848"/>
                  </a:cubicBezTo>
                  <a:lnTo>
                    <a:pt x="933627" y="580348"/>
                  </a:lnTo>
                  <a:cubicBezTo>
                    <a:pt x="937496" y="591807"/>
                    <a:pt x="948807" y="599398"/>
                    <a:pt x="960267" y="599398"/>
                  </a:cubicBezTo>
                  <a:lnTo>
                    <a:pt x="1165946" y="622317"/>
                  </a:lnTo>
                  <a:cubicBezTo>
                    <a:pt x="1215507" y="626186"/>
                    <a:pt x="1234557" y="690928"/>
                    <a:pt x="1200177" y="721438"/>
                  </a:cubicBezTo>
                  <a:lnTo>
                    <a:pt x="1047777" y="862378"/>
                  </a:lnTo>
                  <a:cubicBezTo>
                    <a:pt x="1040186" y="869968"/>
                    <a:pt x="1036317" y="881428"/>
                    <a:pt x="1036317" y="896608"/>
                  </a:cubicBezTo>
                  <a:lnTo>
                    <a:pt x="1078288" y="1098569"/>
                  </a:lnTo>
                  <a:cubicBezTo>
                    <a:pt x="1082157" y="1144258"/>
                    <a:pt x="1028876" y="1182358"/>
                    <a:pt x="986909" y="1159589"/>
                  </a:cubicBezTo>
                  <a:close/>
                </a:path>
              </a:pathLst>
            </a:custGeom>
            <a:grpFill/>
            <a:ln w="38100" cap="flat">
              <a:noFill/>
              <a:prstDash val="solid"/>
              <a:miter/>
            </a:ln>
          </p:spPr>
          <p:txBody>
            <a:bodyPr rtlCol="0" anchor="ctr"/>
            <a:lstStyle/>
            <a:p>
              <a:endParaRPr lang="en-US"/>
            </a:p>
          </p:txBody>
        </p:sp>
      </p:grpSp>
      <p:sp>
        <p:nvSpPr>
          <p:cNvPr id="103" name="Graphic 101">
            <a:extLst>
              <a:ext uri="{FF2B5EF4-FFF2-40B4-BE49-F238E27FC236}">
                <a16:creationId xmlns:a16="http://schemas.microsoft.com/office/drawing/2014/main" id="{6D9E8922-1483-1F06-1A3C-418FAB5CDB9A}"/>
              </a:ext>
            </a:extLst>
          </p:cNvPr>
          <p:cNvSpPr/>
          <p:nvPr/>
        </p:nvSpPr>
        <p:spPr>
          <a:xfrm>
            <a:off x="675641" y="3518779"/>
            <a:ext cx="402644" cy="421934"/>
          </a:xfrm>
          <a:custGeom>
            <a:avLst/>
            <a:gdLst>
              <a:gd name="connsiteX0" fmla="*/ 3562197 w 3564217"/>
              <a:gd name="connsiteY0" fmla="*/ 222404 h 3734988"/>
              <a:gd name="connsiteX1" fmla="*/ 3505493 w 3564217"/>
              <a:gd name="connsiteY1" fmla="*/ 52143 h 3734988"/>
              <a:gd name="connsiteX2" fmla="*/ 3353093 w 3564217"/>
              <a:gd name="connsiteY2" fmla="*/ 1394 h 3734988"/>
              <a:gd name="connsiteX3" fmla="*/ 1172630 w 3564217"/>
              <a:gd name="connsiteY3" fmla="*/ 1160777 h 3734988"/>
              <a:gd name="connsiteX4" fmla="*/ 997012 w 3564217"/>
              <a:gd name="connsiteY4" fmla="*/ 1151699 h 3734988"/>
              <a:gd name="connsiteX5" fmla="*/ 654112 w 3564217"/>
              <a:gd name="connsiteY5" fmla="*/ 1283559 h 3734988"/>
              <a:gd name="connsiteX6" fmla="*/ 379822 w 3564217"/>
              <a:gd name="connsiteY6" fmla="*/ 1557848 h 3734988"/>
              <a:gd name="connsiteX7" fmla="*/ 371934 w 3564217"/>
              <a:gd name="connsiteY7" fmla="*/ 1583447 h 3734988"/>
              <a:gd name="connsiteX8" fmla="*/ 388900 w 3564217"/>
              <a:gd name="connsiteY8" fmla="*/ 1604283 h 3734988"/>
              <a:gd name="connsiteX9" fmla="*/ 826288 w 3564217"/>
              <a:gd name="connsiteY9" fmla="*/ 1785704 h 3734988"/>
              <a:gd name="connsiteX10" fmla="*/ 708567 w 3564217"/>
              <a:gd name="connsiteY10" fmla="*/ 2168952 h 3734988"/>
              <a:gd name="connsiteX11" fmla="*/ 746667 w 3564217"/>
              <a:gd name="connsiteY11" fmla="*/ 2299326 h 3734988"/>
              <a:gd name="connsiteX12" fmla="*/ 1265627 w 3564217"/>
              <a:gd name="connsiteY12" fmla="*/ 2816648 h 3734988"/>
              <a:gd name="connsiteX13" fmla="*/ 1395853 w 3564217"/>
              <a:gd name="connsiteY13" fmla="*/ 2854748 h 3734988"/>
              <a:gd name="connsiteX14" fmla="*/ 1779215 w 3564217"/>
              <a:gd name="connsiteY14" fmla="*/ 2737027 h 3734988"/>
              <a:gd name="connsiteX15" fmla="*/ 1960636 w 3564217"/>
              <a:gd name="connsiteY15" fmla="*/ 3174415 h 3734988"/>
              <a:gd name="connsiteX16" fmla="*/ 1960487 w 3564217"/>
              <a:gd name="connsiteY16" fmla="*/ 3174415 h 3734988"/>
              <a:gd name="connsiteX17" fmla="*/ 1981323 w 3564217"/>
              <a:gd name="connsiteY17" fmla="*/ 3191381 h 3734988"/>
              <a:gd name="connsiteX18" fmla="*/ 2006922 w 3564217"/>
              <a:gd name="connsiteY18" fmla="*/ 3183493 h 3734988"/>
              <a:gd name="connsiteX19" fmla="*/ 2281211 w 3564217"/>
              <a:gd name="connsiteY19" fmla="*/ 2909204 h 3734988"/>
              <a:gd name="connsiteX20" fmla="*/ 2281360 w 3564217"/>
              <a:gd name="connsiteY20" fmla="*/ 2909204 h 3734988"/>
              <a:gd name="connsiteX21" fmla="*/ 2413072 w 3564217"/>
              <a:gd name="connsiteY21" fmla="*/ 2566304 h 3734988"/>
              <a:gd name="connsiteX22" fmla="*/ 2403993 w 3564217"/>
              <a:gd name="connsiteY22" fmla="*/ 2390685 h 3734988"/>
              <a:gd name="connsiteX23" fmla="*/ 3562157 w 3564217"/>
              <a:gd name="connsiteY23" fmla="*/ 222414 h 3734988"/>
              <a:gd name="connsiteX24" fmla="*/ 2114397 w 3564217"/>
              <a:gd name="connsiteY24" fmla="*/ 1797916 h 3734988"/>
              <a:gd name="connsiteX25" fmla="*/ 1846657 w 3564217"/>
              <a:gd name="connsiteY25" fmla="*/ 1851195 h 3734988"/>
              <a:gd name="connsiteX26" fmla="*/ 1694851 w 3564217"/>
              <a:gd name="connsiteY26" fmla="*/ 1624084 h 3734988"/>
              <a:gd name="connsiteX27" fmla="*/ 1846657 w 3564217"/>
              <a:gd name="connsiteY27" fmla="*/ 1397123 h 3734988"/>
              <a:gd name="connsiteX28" fmla="*/ 2114397 w 3564217"/>
              <a:gd name="connsiteY28" fmla="*/ 1450402 h 3734988"/>
              <a:gd name="connsiteX29" fmla="*/ 2114844 w 3564217"/>
              <a:gd name="connsiteY29" fmla="*/ 1797470 h 3734988"/>
              <a:gd name="connsiteX30" fmla="*/ 2266797 w 3564217"/>
              <a:gd name="connsiteY30" fmla="*/ 1299644 h 3734988"/>
              <a:gd name="connsiteX31" fmla="*/ 2266797 w 3564217"/>
              <a:gd name="connsiteY31" fmla="*/ 1299495 h 3734988"/>
              <a:gd name="connsiteX32" fmla="*/ 2196548 w 3564217"/>
              <a:gd name="connsiteY32" fmla="*/ 946921 h 3734988"/>
              <a:gd name="connsiteX33" fmla="*/ 2495397 w 3564217"/>
              <a:gd name="connsiteY33" fmla="*/ 747194 h 3734988"/>
              <a:gd name="connsiteX34" fmla="*/ 2794395 w 3564217"/>
              <a:gd name="connsiteY34" fmla="*/ 946921 h 3734988"/>
              <a:gd name="connsiteX35" fmla="*/ 2723997 w 3564217"/>
              <a:gd name="connsiteY35" fmla="*/ 1299495 h 3734988"/>
              <a:gd name="connsiteX36" fmla="*/ 2494803 w 3564217"/>
              <a:gd name="connsiteY36" fmla="*/ 1394448 h 3734988"/>
              <a:gd name="connsiteX37" fmla="*/ 2265757 w 3564217"/>
              <a:gd name="connsiteY37" fmla="*/ 1299198 h 3734988"/>
              <a:gd name="connsiteX38" fmla="*/ 292455 w 3564217"/>
              <a:gd name="connsiteY38" fmla="*/ 2910398 h 3734988"/>
              <a:gd name="connsiteX39" fmla="*/ 53290 w 3564217"/>
              <a:gd name="connsiteY39" fmla="*/ 2891348 h 3734988"/>
              <a:gd name="connsiteX40" fmla="*/ 15190 w 3564217"/>
              <a:gd name="connsiteY40" fmla="*/ 2879441 h 3734988"/>
              <a:gd name="connsiteX41" fmla="*/ 5962 w 3564217"/>
              <a:gd name="connsiteY41" fmla="*/ 2830030 h 3734988"/>
              <a:gd name="connsiteX42" fmla="*/ 727195 w 3564217"/>
              <a:gd name="connsiteY42" fmla="*/ 2574790 h 3734988"/>
              <a:gd name="connsiteX43" fmla="*/ 727195 w 3564217"/>
              <a:gd name="connsiteY43" fmla="*/ 2574641 h 3734988"/>
              <a:gd name="connsiteX44" fmla="*/ 734042 w 3564217"/>
              <a:gd name="connsiteY44" fmla="*/ 2589970 h 3734988"/>
              <a:gd name="connsiteX45" fmla="*/ 727195 w 3564217"/>
              <a:gd name="connsiteY45" fmla="*/ 2605151 h 3734988"/>
              <a:gd name="connsiteX46" fmla="*/ 556488 w 3564217"/>
              <a:gd name="connsiteY46" fmla="*/ 2971715 h 3734988"/>
              <a:gd name="connsiteX47" fmla="*/ 587742 w 3564217"/>
              <a:gd name="connsiteY47" fmla="*/ 3002968 h 3734988"/>
              <a:gd name="connsiteX48" fmla="*/ 953563 w 3564217"/>
              <a:gd name="connsiteY48" fmla="*/ 2836430 h 3734988"/>
              <a:gd name="connsiteX49" fmla="*/ 969339 w 3564217"/>
              <a:gd name="connsiteY49" fmla="*/ 2828988 h 3734988"/>
              <a:gd name="connsiteX50" fmla="*/ 985114 w 3564217"/>
              <a:gd name="connsiteY50" fmla="*/ 2836430 h 3734988"/>
              <a:gd name="connsiteX51" fmla="*/ 1025447 w 3564217"/>
              <a:gd name="connsiteY51" fmla="*/ 3340073 h 3734988"/>
              <a:gd name="connsiteX52" fmla="*/ 1025596 w 3564217"/>
              <a:gd name="connsiteY52" fmla="*/ 3340222 h 3734988"/>
              <a:gd name="connsiteX53" fmla="*/ 720796 w 3564217"/>
              <a:gd name="connsiteY53" fmla="*/ 3500212 h 3734988"/>
              <a:gd name="connsiteX54" fmla="*/ 111196 w 3564217"/>
              <a:gd name="connsiteY54" fmla="*/ 3718841 h 3734988"/>
              <a:gd name="connsiteX55" fmla="*/ 68185 w 3564217"/>
              <a:gd name="connsiteY55" fmla="*/ 3734022 h 3734988"/>
              <a:gd name="connsiteX56" fmla="*/ 34996 w 3564217"/>
              <a:gd name="connsiteY56" fmla="*/ 3702916 h 3734988"/>
              <a:gd name="connsiteX57" fmla="*/ 292468 w 3564217"/>
              <a:gd name="connsiteY57" fmla="*/ 2910399 h 37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564217" h="3734988">
                <a:moveTo>
                  <a:pt x="3562197" y="222404"/>
                </a:moveTo>
                <a:cubicBezTo>
                  <a:pt x="3571127" y="159898"/>
                  <a:pt x="3550142" y="96793"/>
                  <a:pt x="3505493" y="52143"/>
                </a:cubicBezTo>
                <a:cubicBezTo>
                  <a:pt x="3464863" y="13152"/>
                  <a:pt x="3408902" y="-5453"/>
                  <a:pt x="3353093" y="1394"/>
                </a:cubicBezTo>
                <a:cubicBezTo>
                  <a:pt x="2205483" y="140848"/>
                  <a:pt x="1548258" y="654885"/>
                  <a:pt x="1172630" y="1160777"/>
                </a:cubicBezTo>
                <a:lnTo>
                  <a:pt x="997012" y="1151699"/>
                </a:lnTo>
                <a:cubicBezTo>
                  <a:pt x="869167" y="1145150"/>
                  <a:pt x="744599" y="1192923"/>
                  <a:pt x="654112" y="1283559"/>
                </a:cubicBezTo>
                <a:lnTo>
                  <a:pt x="379822" y="1557848"/>
                </a:lnTo>
                <a:cubicBezTo>
                  <a:pt x="373125" y="1564546"/>
                  <a:pt x="370148" y="1574220"/>
                  <a:pt x="371934" y="1583447"/>
                </a:cubicBezTo>
                <a:cubicBezTo>
                  <a:pt x="373869" y="1592823"/>
                  <a:pt x="380120" y="1600562"/>
                  <a:pt x="388900" y="1604283"/>
                </a:cubicBezTo>
                <a:lnTo>
                  <a:pt x="826288" y="1785704"/>
                </a:lnTo>
                <a:cubicBezTo>
                  <a:pt x="776877" y="1910123"/>
                  <a:pt x="737588" y="2038265"/>
                  <a:pt x="708567" y="2168952"/>
                </a:cubicBezTo>
                <a:cubicBezTo>
                  <a:pt x="698298" y="2215982"/>
                  <a:pt x="712586" y="2265093"/>
                  <a:pt x="746667" y="2299326"/>
                </a:cubicBezTo>
                <a:lnTo>
                  <a:pt x="1265627" y="2816648"/>
                </a:lnTo>
                <a:cubicBezTo>
                  <a:pt x="1299709" y="2850729"/>
                  <a:pt x="1348822" y="2865016"/>
                  <a:pt x="1395853" y="2854748"/>
                </a:cubicBezTo>
                <a:cubicBezTo>
                  <a:pt x="1526525" y="2825726"/>
                  <a:pt x="1654666" y="2786435"/>
                  <a:pt x="1779215" y="2737027"/>
                </a:cubicBezTo>
                <a:lnTo>
                  <a:pt x="1960636" y="3174415"/>
                </a:lnTo>
                <a:lnTo>
                  <a:pt x="1960487" y="3174415"/>
                </a:lnTo>
                <a:cubicBezTo>
                  <a:pt x="1964208" y="3183196"/>
                  <a:pt x="1971947" y="3189446"/>
                  <a:pt x="1981323" y="3191381"/>
                </a:cubicBezTo>
                <a:cubicBezTo>
                  <a:pt x="1990699" y="3193167"/>
                  <a:pt x="2000224" y="3190190"/>
                  <a:pt x="2006922" y="3183493"/>
                </a:cubicBezTo>
                <a:lnTo>
                  <a:pt x="2281211" y="2909204"/>
                </a:lnTo>
                <a:lnTo>
                  <a:pt x="2281360" y="2909204"/>
                </a:lnTo>
                <a:cubicBezTo>
                  <a:pt x="2371847" y="2818716"/>
                  <a:pt x="2419621" y="2694148"/>
                  <a:pt x="2413072" y="2566304"/>
                </a:cubicBezTo>
                <a:lnTo>
                  <a:pt x="2403993" y="2390685"/>
                </a:lnTo>
                <a:cubicBezTo>
                  <a:pt x="2908818" y="2019210"/>
                  <a:pt x="3420501" y="1363166"/>
                  <a:pt x="3562157" y="222414"/>
                </a:cubicBezTo>
                <a:close/>
                <a:moveTo>
                  <a:pt x="2114397" y="1797916"/>
                </a:moveTo>
                <a:cubicBezTo>
                  <a:pt x="2044148" y="1868164"/>
                  <a:pt x="1938482" y="1889146"/>
                  <a:pt x="1846657" y="1851195"/>
                </a:cubicBezTo>
                <a:cubicBezTo>
                  <a:pt x="1754828" y="1813095"/>
                  <a:pt x="1694851" y="1723499"/>
                  <a:pt x="1694851" y="1624084"/>
                </a:cubicBezTo>
                <a:cubicBezTo>
                  <a:pt x="1694851" y="1524670"/>
                  <a:pt x="1754828" y="1435074"/>
                  <a:pt x="1846657" y="1397123"/>
                </a:cubicBezTo>
                <a:cubicBezTo>
                  <a:pt x="1938485" y="1359023"/>
                  <a:pt x="2044152" y="1380156"/>
                  <a:pt x="2114397" y="1450402"/>
                </a:cubicBezTo>
                <a:cubicBezTo>
                  <a:pt x="2210241" y="1546246"/>
                  <a:pt x="2210390" y="1701473"/>
                  <a:pt x="2114844" y="1797470"/>
                </a:cubicBezTo>
                <a:close/>
                <a:moveTo>
                  <a:pt x="2266797" y="1299644"/>
                </a:moveTo>
                <a:lnTo>
                  <a:pt x="2266797" y="1299495"/>
                </a:lnTo>
                <a:cubicBezTo>
                  <a:pt x="2174225" y="1207072"/>
                  <a:pt x="2146546" y="1067919"/>
                  <a:pt x="2196548" y="946921"/>
                </a:cubicBezTo>
                <a:cubicBezTo>
                  <a:pt x="2246554" y="826072"/>
                  <a:pt x="2364577" y="747194"/>
                  <a:pt x="2495397" y="747194"/>
                </a:cubicBezTo>
                <a:cubicBezTo>
                  <a:pt x="2626366" y="747194"/>
                  <a:pt x="2744236" y="826072"/>
                  <a:pt x="2794395" y="946921"/>
                </a:cubicBezTo>
                <a:cubicBezTo>
                  <a:pt x="2844401" y="1067919"/>
                  <a:pt x="2816570" y="1207072"/>
                  <a:pt x="2723997" y="1299495"/>
                </a:cubicBezTo>
                <a:cubicBezTo>
                  <a:pt x="2663273" y="1360367"/>
                  <a:pt x="2580825" y="1394597"/>
                  <a:pt x="2494803" y="1394448"/>
                </a:cubicBezTo>
                <a:cubicBezTo>
                  <a:pt x="2408781" y="1394448"/>
                  <a:pt x="2326328" y="1360069"/>
                  <a:pt x="2265757" y="1299198"/>
                </a:cubicBezTo>
                <a:close/>
                <a:moveTo>
                  <a:pt x="292455" y="2910398"/>
                </a:moveTo>
                <a:cubicBezTo>
                  <a:pt x="215661" y="2883609"/>
                  <a:pt x="133357" y="2877060"/>
                  <a:pt x="53290" y="2891348"/>
                </a:cubicBezTo>
                <a:cubicBezTo>
                  <a:pt x="39449" y="2893729"/>
                  <a:pt x="25161" y="2889413"/>
                  <a:pt x="15190" y="2879441"/>
                </a:cubicBezTo>
                <a:cubicBezTo>
                  <a:pt x="1944" y="2866642"/>
                  <a:pt x="-1628" y="2846699"/>
                  <a:pt x="5962" y="2830030"/>
                </a:cubicBezTo>
                <a:cubicBezTo>
                  <a:pt x="89009" y="2646079"/>
                  <a:pt x="317609" y="2276094"/>
                  <a:pt x="727195" y="2574790"/>
                </a:cubicBezTo>
                <a:lnTo>
                  <a:pt x="727195" y="2574641"/>
                </a:lnTo>
                <a:cubicBezTo>
                  <a:pt x="731511" y="2578659"/>
                  <a:pt x="734042" y="2584166"/>
                  <a:pt x="734042" y="2589970"/>
                </a:cubicBezTo>
                <a:cubicBezTo>
                  <a:pt x="734042" y="2595774"/>
                  <a:pt x="731512" y="2601281"/>
                  <a:pt x="727195" y="2605151"/>
                </a:cubicBezTo>
                <a:cubicBezTo>
                  <a:pt x="615128" y="2693109"/>
                  <a:pt x="551726" y="2829285"/>
                  <a:pt x="556488" y="2971715"/>
                </a:cubicBezTo>
                <a:cubicBezTo>
                  <a:pt x="557084" y="2988681"/>
                  <a:pt x="570776" y="3002373"/>
                  <a:pt x="587742" y="3002968"/>
                </a:cubicBezTo>
                <a:cubicBezTo>
                  <a:pt x="729276" y="3008624"/>
                  <a:pt x="865007" y="2946859"/>
                  <a:pt x="953563" y="2836430"/>
                </a:cubicBezTo>
                <a:cubicBezTo>
                  <a:pt x="957433" y="2831816"/>
                  <a:pt x="963237" y="2828988"/>
                  <a:pt x="969339" y="2828988"/>
                </a:cubicBezTo>
                <a:cubicBezTo>
                  <a:pt x="975441" y="2828988"/>
                  <a:pt x="981245" y="2831816"/>
                  <a:pt x="985114" y="2836430"/>
                </a:cubicBezTo>
                <a:cubicBezTo>
                  <a:pt x="1042264" y="2904595"/>
                  <a:pt x="1199278" y="3126051"/>
                  <a:pt x="1025447" y="3340073"/>
                </a:cubicBezTo>
                <a:lnTo>
                  <a:pt x="1025596" y="3340222"/>
                </a:lnTo>
                <a:cubicBezTo>
                  <a:pt x="949099" y="3431601"/>
                  <a:pt x="839561" y="3489201"/>
                  <a:pt x="720796" y="3500212"/>
                </a:cubicBezTo>
                <a:cubicBezTo>
                  <a:pt x="551281" y="3518815"/>
                  <a:pt x="239631" y="3572244"/>
                  <a:pt x="111196" y="3718841"/>
                </a:cubicBezTo>
                <a:cubicBezTo>
                  <a:pt x="100778" y="3731641"/>
                  <a:pt x="84258" y="3737445"/>
                  <a:pt x="68185" y="3734022"/>
                </a:cubicBezTo>
                <a:cubicBezTo>
                  <a:pt x="52111" y="3730748"/>
                  <a:pt x="39312" y="3718693"/>
                  <a:pt x="34996" y="3702916"/>
                </a:cubicBezTo>
                <a:cubicBezTo>
                  <a:pt x="-8461" y="3548878"/>
                  <a:pt x="-76625" y="3205978"/>
                  <a:pt x="292468" y="2910399"/>
                </a:cubicBezTo>
                <a:close/>
              </a:path>
            </a:pathLst>
          </a:custGeom>
          <a:solidFill>
            <a:schemeClr val="bg1"/>
          </a:solidFill>
          <a:ln w="38100" cap="flat">
            <a:noFill/>
            <a:prstDash val="solid"/>
            <a:miter/>
          </a:ln>
        </p:spPr>
        <p:txBody>
          <a:bodyPr rtlCol="0" anchor="ctr"/>
          <a:lstStyle/>
          <a:p>
            <a:endParaRPr lang="en-US"/>
          </a:p>
        </p:txBody>
      </p:sp>
      <p:cxnSp>
        <p:nvCxnSpPr>
          <p:cNvPr id="104" name="Straight Connector 103">
            <a:extLst>
              <a:ext uri="{FF2B5EF4-FFF2-40B4-BE49-F238E27FC236}">
                <a16:creationId xmlns:a16="http://schemas.microsoft.com/office/drawing/2014/main" id="{AE8D26D3-2258-EFDA-84F9-D851878C82E4}"/>
              </a:ext>
            </a:extLst>
          </p:cNvPr>
          <p:cNvCxnSpPr/>
          <p:nvPr/>
        </p:nvCxnSpPr>
        <p:spPr>
          <a:xfrm>
            <a:off x="606425" y="2074947"/>
            <a:ext cx="641350"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http://schemas.openxmlformats.org/officeDocument/2006/math" xmlns:w="http://schemas.openxmlformats.org/wordprocessingml/2006/main" xmlns:wp="http://schemas.openxmlformats.org/drawingml/2006/wordprocessingDrawing" xmlns:a14="http://schemas.microsoft.com/office/drawing/2010/main" xmlns:p15="http://schemas.microsoft.com/office/powerpoint/2012/main" xmlns:p159="http://schemas.microsoft.com/office/powerpoint/2015/09/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extLst>
              <p:ext uri="{D42A27DB-BD31-4B8C-83A1-F6EECF244321}">
                <p14:modId xmlns:p14="http://schemas.microsoft.com/office/powerpoint/2010/main" val="51690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09231"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tr-TR" sz="1600" b="1" i="0" strike="noStrike" cap="none" spc="0" baseline="0">
                <a:solidFill>
                  <a:srgbClr val="FFFFFF"/>
                </a:solidFill>
                <a:effectLst/>
                <a:latin typeface="Calibri"/>
                <a:ea typeface="Calibri"/>
                <a:cs typeface="Calibri"/>
              </a:rPr>
              <a:t>Kapsam 1+2 muhasebesini kurum içinde yeni başlatıyor ve yapmak istiyorsanız, kendi Excel veri toplama şablonunuzu tasarlamak için </a:t>
            </a:r>
            <a:r>
              <a:rPr lang="tr-TR" sz="1600" b="1" i="0" strike="noStrike" cap="none" spc="0" baseline="0">
                <a:solidFill>
                  <a:srgbClr val="FFFFFF"/>
                </a:solidFill>
                <a:effectLst/>
                <a:latin typeface="Calibri"/>
                <a:ea typeface="Calibri"/>
                <a:cs typeface="Calibri"/>
                <a:hlinkClick r:id="rId6" history="0"/>
              </a:rPr>
              <a:t>ABD EPA Basitleştirilmiş Sera Gazı Emisyon Hesaplayıcısını</a:t>
            </a:r>
            <a:r>
              <a:rPr lang="tr-TR" sz="1600" b="1" i="0" strike="noStrike" cap="none" spc="0" baseline="0">
                <a:solidFill>
                  <a:srgbClr val="FFFFFF"/>
                </a:solidFill>
                <a:effectLst/>
                <a:latin typeface="Calibri"/>
                <a:ea typeface="Calibri"/>
                <a:cs typeface="Calibri"/>
              </a:rPr>
              <a:t> kullanın.</a:t>
            </a: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6170718"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tr-TR" sz="1600" b="1" i="0" strike="noStrike" cap="none" spc="0" baseline="0">
                <a:solidFill>
                  <a:srgbClr val="FFFFFF"/>
                </a:solidFill>
                <a:effectLst/>
                <a:latin typeface="Calibri"/>
                <a:ea typeface="Calibri"/>
                <a:cs typeface="Calibri"/>
              </a:rPr>
              <a:t>Bir danışman veya yazılım sağlayıcısı kullanmak istiyorsanız, CDP </a:t>
            </a:r>
            <a:r>
              <a:rPr lang="tr-TR" sz="1600" b="1" i="0" strike="noStrike" cap="none" spc="0" baseline="0">
                <a:solidFill>
                  <a:srgbClr val="FFFFFF"/>
                </a:solidFill>
                <a:effectLst/>
                <a:latin typeface="Calibri"/>
                <a:ea typeface="Calibri"/>
                <a:cs typeface="Calibri"/>
                <a:hlinkClick r:id="rId7" history="0"/>
              </a:rPr>
              <a:t>Akredite Çözüm Sağlayıcılarını</a:t>
            </a:r>
            <a:r>
              <a:rPr lang="tr-TR" sz="1600" b="1" i="0" strike="noStrike" cap="none" spc="0" baseline="0">
                <a:solidFill>
                  <a:srgbClr val="FFFFFF"/>
                </a:solidFill>
                <a:effectLst/>
                <a:latin typeface="Calibri"/>
                <a:ea typeface="Calibri"/>
                <a:cs typeface="Calibri"/>
              </a:rPr>
              <a:t> kontrol edin: Sera Gazı Emisyon Envanteri sağlayıcıları için filtre.</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r>
              <a:rPr lang="tr-TR" sz="3200" b="0" i="0" strike="noStrike" cap="none" spc="-20" baseline="0">
                <a:solidFill>
                  <a:srgbClr val="FFFFFF"/>
                </a:solidFill>
                <a:effectLst/>
                <a:latin typeface="Calibri"/>
                <a:ea typeface="Calibri"/>
                <a:cs typeface="Calibri"/>
              </a:rPr>
              <a:t>a) Veri toplama yöntemini tanımlama</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96438"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tr-TR" sz="1400" b="0" i="0" strike="noStrike" cap="none" spc="0" baseline="0">
                <a:solidFill>
                  <a:srgbClr val="000000"/>
                </a:solidFill>
                <a:effectLst/>
                <a:latin typeface="Calibri"/>
                <a:ea typeface="Calibri"/>
                <a:cs typeface="Calibri"/>
              </a:rPr>
              <a:t>Bu araçtaki emisyon faktörlerinin ABD'ye özgü olduğunu unutmayın, bu nedenle buna dayalı olarak kendi şablonunuzu oluşturmanız gerekecektir.</a:t>
            </a:r>
            <a:endParaRPr lang="en-US" sz="1400">
              <a:solidFill>
                <a:schemeClr val="accent5"/>
              </a:solidFill>
            </a:endParaRP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6257925"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tr-TR" sz="1400" b="0" i="0" strike="noStrike" cap="none" spc="0" baseline="0">
                <a:solidFill>
                  <a:srgbClr val="000000"/>
                </a:solidFill>
                <a:effectLst/>
                <a:latin typeface="Calibri"/>
                <a:ea typeface="Calibri"/>
                <a:cs typeface="Calibri"/>
              </a:rPr>
              <a:t>Ayrıca işlemi otomatikleştirmek istiyorsanız yazılım sağlayıcısı listesini de kontrol edin.</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8"/>
          <a:stretch>
            <a:fillRect/>
          </a:stretch>
        </p:blipFill>
        <p:spPr bwMode="auto">
          <a:xfrm>
            <a:off x="765133" y="3308097"/>
            <a:ext cx="5131882" cy="263133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6326624" y="3159867"/>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62229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6D6F50-3B7B-9867-D267-9B53E253C00E}"/>
              </a:ext>
            </a:extLst>
          </p:cNvPr>
          <p:cNvGraphicFramePr>
            <a:graphicFrameLocks noChangeAspect="1"/>
          </p:cNvGraphicFramePr>
          <p:nvPr>
            <p:custDataLst>
              <p:tags r:id="rId1"/>
            </p:custDataLst>
            <p:extLst>
              <p:ext uri="{D42A27DB-BD31-4B8C-83A1-F6EECF244321}">
                <p14:modId xmlns:p14="http://schemas.microsoft.com/office/powerpoint/2010/main" val="1553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7A6D6F50-3B7B-9867-D267-9B53E253C0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b) Kapsam 1 faaliyet verilerini toplama</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150412644"/>
              </p:ext>
            </p:extLst>
          </p:nvPr>
        </p:nvGraphicFramePr>
        <p:xfrm>
          <a:off x="606425" y="1839475"/>
          <a:ext cx="10972799" cy="4267200"/>
        </p:xfrm>
        <a:graphic>
          <a:graphicData uri="http://schemas.openxmlformats.org/drawingml/2006/table">
            <a:tbl>
              <a:tblPr firstRow="1" bandRow="1">
                <a:tableStyleId>{5C22544A-7EE6-4342-B048-85BDC9FD1C3A}</a:tableStyleId>
              </a:tblPr>
              <a:tblGrid>
                <a:gridCol w="2345883">
                  <a:extLst>
                    <a:ext uri="{9D8B030D-6E8A-4147-A177-3AD203B41FA5}">
                      <a16:colId xmlns:a16="http://schemas.microsoft.com/office/drawing/2014/main" val="3378445894"/>
                    </a:ext>
                  </a:extLst>
                </a:gridCol>
                <a:gridCol w="3959560">
                  <a:extLst>
                    <a:ext uri="{9D8B030D-6E8A-4147-A177-3AD203B41FA5}">
                      <a16:colId xmlns:a16="http://schemas.microsoft.com/office/drawing/2014/main" val="3140351158"/>
                    </a:ext>
                  </a:extLst>
                </a:gridCol>
                <a:gridCol w="4667356">
                  <a:extLst>
                    <a:ext uri="{9D8B030D-6E8A-4147-A177-3AD203B41FA5}">
                      <a16:colId xmlns:a16="http://schemas.microsoft.com/office/drawing/2014/main" val="1385693982"/>
                    </a:ext>
                  </a:extLst>
                </a:gridCol>
              </a:tblGrid>
              <a:tr h="213534">
                <a:tc>
                  <a:txBody>
                    <a:bodyPr/>
                    <a:lstStyle/>
                    <a:p>
                      <a:r>
                        <a:rPr lang="tr-TR" sz="1800" b="1" i="0" strike="noStrike" cap="none" spc="0" baseline="0">
                          <a:solidFill>
                            <a:srgbClr val="FFFFFF"/>
                          </a:solidFill>
                          <a:effectLst/>
                          <a:latin typeface="Calibri"/>
                          <a:ea typeface="Calibri"/>
                          <a:cs typeface="Calibri"/>
                        </a:rPr>
                        <a:t>Emisyon türü</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tr-TR" sz="1800" b="1" i="0" strike="noStrike" cap="none" spc="0" baseline="0">
                          <a:solidFill>
                            <a:srgbClr val="FFFFFF"/>
                          </a:solidFill>
                          <a:effectLst/>
                          <a:latin typeface="Calibri"/>
                          <a:ea typeface="Calibri"/>
                          <a:cs typeface="Calibri"/>
                        </a:rPr>
                        <a:t>Kaynak kontrol listesi</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tr-TR" sz="1800" b="1" i="0" strike="noStrike" cap="none" spc="0" baseline="0">
                          <a:solidFill>
                            <a:srgbClr val="FFFFFF"/>
                          </a:solidFill>
                          <a:effectLst/>
                          <a:latin typeface="Calibri"/>
                          <a:ea typeface="Calibri"/>
                          <a:cs typeface="Calibri"/>
                        </a:rPr>
                        <a:t>Veriler nerede bulunur</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43107">
                <a:tc>
                  <a:txBody>
                    <a:bodyPr/>
                    <a:lstStyle/>
                    <a:p>
                      <a:r>
                        <a:rPr lang="tr-TR" sz="1600" b="0" i="0" strike="noStrike" cap="none" spc="0" baseline="0">
                          <a:solidFill>
                            <a:srgbClr val="000000"/>
                          </a:solidFill>
                          <a:effectLst/>
                          <a:latin typeface="Calibri"/>
                          <a:ea typeface="Calibri"/>
                          <a:cs typeface="Calibri"/>
                        </a:rPr>
                        <a:t>Sabit yanma</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Kazanlardaki yakıtların yanması</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Fırınlardaki yakıtların yanması</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Brülörlerdeki yakıtların yanması</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Türbinlerdeki yakıtların yanması</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Tesis içinde enerji üretimi</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Doğal gaz, propan ve akaryakıt faturaları</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Yakıt alımları için faturalar</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Ekipmanın çalışma süresine ilişkin veriler </a:t>
                      </a:r>
                      <a:r>
                        <a:rPr lang="tr-TR" sz="1400" b="0" i="1" strike="noStrike" cap="none" spc="0" baseline="0">
                          <a:solidFill>
                            <a:srgbClr val="000000"/>
                          </a:solidFill>
                          <a:effectLst/>
                          <a:latin typeface="Calibri"/>
                          <a:ea typeface="Calibri"/>
                          <a:cs typeface="Calibri"/>
                        </a:rPr>
                        <a:t>Not: Toplam yakıt tüketimini tahmin etmek için bunun yakıt tüketim oranıyla çarpılması gerekecektir</a:t>
                      </a:r>
                      <a:endParaRPr lang="en-US" sz="1600" i="1"/>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854134">
                <a:tc>
                  <a:txBody>
                    <a:bodyPr/>
                    <a:lstStyle/>
                    <a:p>
                      <a:r>
                        <a:rPr lang="tr-TR" sz="1600" b="0" i="0" strike="noStrike" cap="none" spc="0" baseline="0">
                          <a:solidFill>
                            <a:srgbClr val="000000"/>
                          </a:solidFill>
                          <a:effectLst/>
                          <a:latin typeface="Calibri"/>
                          <a:ea typeface="Calibri"/>
                          <a:cs typeface="Calibri"/>
                        </a:rPr>
                        <a:t>Mobil yanma</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Malzemelerin, ürünlerin, atıkların ve çalışanların taşınması için şirketiniz tarafından işletilen araçlarda yakıtın yanması</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Filonuz için yakıt satın alma faturaları</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Toplam yakıt tüketimini tahmin etmek için araç kilometresine ilişkin veriler bildirilen yakıt ekonomisi oranıyla çarpılır</a:t>
                      </a:r>
                    </a:p>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Araç türüne göre ton-km</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r h="480451">
                <a:tc>
                  <a:txBody>
                    <a:bodyPr/>
                    <a:lstStyle/>
                    <a:p>
                      <a:r>
                        <a:rPr lang="tr-TR" sz="1600" b="0" i="0" strike="noStrike" cap="none" spc="0" baseline="0">
                          <a:solidFill>
                            <a:srgbClr val="000000"/>
                          </a:solidFill>
                          <a:effectLst/>
                          <a:latin typeface="Calibri"/>
                          <a:ea typeface="Calibri"/>
                          <a:cs typeface="Calibri"/>
                        </a:rPr>
                        <a:t>Kaçak emisyonlar</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Soğutma ve klima ekipmanının kullanımı sırasında HFC (hidroflorokarbon) açığa çıkar*</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Kullanılan ve satın alınan soğutucu miktarını gösteren HVAC (ısıtma, soğutma, havalandırma) veya soğutma bakım kayıtları </a:t>
                      </a:r>
                      <a:endParaRPr lang="en-US" sz="160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6298913"/>
                  </a:ext>
                </a:extLst>
              </a:tr>
            </a:tbl>
          </a:graphicData>
        </a:graphic>
      </p:graphicFrame>
      <p:sp>
        <p:nvSpPr>
          <p:cNvPr id="6" name="Rectangle 5">
            <a:extLst>
              <a:ext uri="{FF2B5EF4-FFF2-40B4-BE49-F238E27FC236}">
                <a16:creationId xmlns:a16="http://schemas.microsoft.com/office/drawing/2014/main" id="{E27D947E-6EE7-DA15-4CF6-548374DBE410}"/>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r>
              <a:rPr lang="tr-TR" sz="2000" b="1" i="0" strike="noStrike" cap="none" spc="0" baseline="0">
                <a:solidFill>
                  <a:srgbClr val="0065E5"/>
                </a:solidFill>
                <a:effectLst/>
                <a:latin typeface="Calibri"/>
                <a:ea typeface="Calibri"/>
                <a:cs typeface="Calibri"/>
              </a:rPr>
              <a:t>Aşağıdaki emisyon kaynakları kontrol listesini inceleyin, şirketiniz için geçerli olanların bir listesini oluşturun ve ilgili verileri toplayın</a:t>
            </a:r>
          </a:p>
        </p:txBody>
      </p:sp>
      <p:sp>
        <p:nvSpPr>
          <p:cNvPr id="7" name="TextBox 6">
            <a:extLst>
              <a:ext uri="{FF2B5EF4-FFF2-40B4-BE49-F238E27FC236}">
                <a16:creationId xmlns:a16="http://schemas.microsoft.com/office/drawing/2014/main" id="{377CFE6E-FCE4-6DEA-409F-7546CA74E67D}"/>
              </a:ext>
            </a:extLst>
          </p:cNvPr>
          <p:cNvSpPr txBox="1"/>
          <p:nvPr/>
        </p:nvSpPr>
        <p:spPr>
          <a:xfrm>
            <a:off x="608806" y="6252317"/>
            <a:ext cx="10952146" cy="304800"/>
          </a:xfrm>
          <a:prstGeom prst="rect">
            <a:avLst/>
          </a:prstGeom>
          <a:noFill/>
        </p:spPr>
        <p:txBody>
          <a:bodyPr wrap="square" lIns="0" tIns="0" rIns="0" bIns="0" rtlCol="0" anchor="b">
            <a:spAutoFit/>
          </a:bodyPr>
          <a:lstStyle/>
          <a:p>
            <a:pPr>
              <a:defRPr/>
            </a:pPr>
            <a:r>
              <a:rPr lang="tr-TR" sz="1000" b="0" i="0" strike="noStrike" cap="none" spc="0" baseline="0">
                <a:solidFill>
                  <a:srgbClr val="000000"/>
                </a:solidFill>
                <a:effectLst/>
                <a:latin typeface="Calibri"/>
                <a:ea typeface="Calibri"/>
                <a:cs typeface="Calibri"/>
              </a:rPr>
              <a:t>* Çoğu soğutucu gaz, atmosfere sızdığında küresel ısınmaya katkıda bulunur. 100 yıllık küresel ısınma potansiyelleri (GWP) CO2'nin 140 ila 11.700 katıdır. Sızan gaz miktarının soğutucu sisteminde değiştirilen gaz miktarına eşit olduğu varsayılmaktadır (HVAC, soğutucular, soğuk depolama, soğutulmuş nakliye, ısı pompası, vb.)</a:t>
            </a:r>
          </a:p>
        </p:txBody>
      </p:sp>
    </p:spTree>
    <p:extLst>
      <p:ext uri="{BB962C8B-B14F-4D97-AF65-F5344CB8AC3E}">
        <p14:creationId xmlns:p14="http://schemas.microsoft.com/office/powerpoint/2010/main" val="199510986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0ED98-0510-734F-EE1C-FE88AB6443C9}"/>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0" name="Object 89" hidden="1">
            <a:extLst>
              <a:ext uri="{FF2B5EF4-FFF2-40B4-BE49-F238E27FC236}">
                <a16:creationId xmlns:a16="http://schemas.microsoft.com/office/drawing/2014/main" id="{3C893672-B720-6482-A2EF-0C1781812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0" name="Object 89" hidden="1">
                        <a:extLst>
                          <a:ext uri="{FF2B5EF4-FFF2-40B4-BE49-F238E27FC236}">
                            <a16:creationId xmlns:a16="http://schemas.microsoft.com/office/drawing/2014/main" id="{3C893672-B720-6482-A2EF-0C1781812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extBox 74">
            <a:hlinkClick r:id="rId6"/>
            <a:extLst>
              <a:ext uri="{FF2B5EF4-FFF2-40B4-BE49-F238E27FC236}">
                <a16:creationId xmlns:a16="http://schemas.microsoft.com/office/drawing/2014/main" id="{87D8670C-AFDA-E4D0-54D1-916EFBB6A1BF}"/>
              </a:ext>
            </a:extLst>
          </p:cNvPr>
          <p:cNvSpPr txBox="1"/>
          <p:nvPr/>
        </p:nvSpPr>
        <p:spPr>
          <a:xfrm>
            <a:off x="610653" y="4033605"/>
            <a:ext cx="5428915" cy="1087035"/>
          </a:xfrm>
          <a:prstGeom prst="rect">
            <a:avLst/>
          </a:prstGeom>
          <a:solidFill>
            <a:schemeClr val="accent5">
              <a:lumMod val="20000"/>
              <a:lumOff val="80000"/>
            </a:schemeClr>
          </a:solidFill>
        </p:spPr>
        <p:txBody>
          <a:bodyPr wrap="square">
            <a:noAutofit/>
          </a:bodyPr>
          <a:lstStyle/>
          <a:p>
            <a:pPr marL="0" marR="0">
              <a:spcBef>
                <a:spcPct val="0"/>
              </a:spcBef>
              <a:spcAft>
                <a:spcPts val="600"/>
              </a:spcAft>
            </a:pPr>
            <a:r>
              <a:rPr lang="tr-TR" sz="1400" b="1" i="0" strike="noStrike" cap="none" spc="0" baseline="0">
                <a:solidFill>
                  <a:srgbClr val="000000"/>
                </a:solidFill>
                <a:effectLst/>
                <a:latin typeface="Calibri"/>
                <a:ea typeface="Calibri"/>
                <a:cs typeface="Calibri"/>
              </a:rPr>
              <a:t>Amerika Birleşik Devletleri Çevre Koruma Ajansı (US EPA) </a:t>
            </a:r>
            <a:br>
              <a:rPr sz="1400"/>
            </a:br>
            <a:r>
              <a:rPr lang="tr-TR" sz="1400" b="1" i="0" strike="noStrike" cap="none" spc="0" baseline="0">
                <a:solidFill>
                  <a:srgbClr val="000000"/>
                </a:solidFill>
                <a:effectLst/>
                <a:latin typeface="Calibri"/>
                <a:ea typeface="Calibri"/>
                <a:cs typeface="Calibri"/>
              </a:rPr>
              <a:t>Sera Gazı Emisyon Faktörleri Merkezi</a:t>
            </a:r>
          </a:p>
          <a:p>
            <a:pPr marL="0" marR="0">
              <a:spcBef>
                <a:spcPct val="0"/>
              </a:spcBef>
              <a:spcAft>
                <a:spcPts val="600"/>
              </a:spcAft>
            </a:pPr>
            <a:r>
              <a:rPr lang="tr-TR" sz="1400" b="1" i="0" strike="noStrike" cap="none" spc="0" baseline="0">
                <a:solidFill>
                  <a:srgbClr val="0065E5"/>
                </a:solidFill>
                <a:effectLst/>
                <a:latin typeface="Calibri"/>
                <a:ea typeface="Calibri"/>
                <a:cs typeface="Calibri"/>
                <a:hlinkClick r:id="rId6" history="0"/>
              </a:rPr>
              <a:t>Buradan</a:t>
            </a:r>
            <a:r>
              <a:rPr lang="tr-TR" sz="1400" b="0" i="0" strike="noStrike" cap="none" spc="0" baseline="0">
                <a:solidFill>
                  <a:srgbClr val="000000"/>
                </a:solidFill>
                <a:effectLst/>
                <a:latin typeface="Calibri"/>
                <a:ea typeface="Calibri"/>
                <a:cs typeface="Calibri"/>
              </a:rPr>
              <a:t> erişin</a:t>
            </a:r>
            <a:endParaRPr lang="en-US" sz="1400" b="1">
              <a:solidFill>
                <a:schemeClr val="accent5"/>
              </a:solidFill>
              <a:effectLst/>
            </a:endParaRPr>
          </a:p>
          <a:p>
            <a:pPr marL="0" marR="0">
              <a:spcBef>
                <a:spcPct val="0"/>
              </a:spcBef>
              <a:spcAft>
                <a:spcPts val="600"/>
              </a:spcAft>
            </a:pPr>
            <a:r>
              <a:rPr lang="tr-TR" sz="1200" b="0" i="1" strike="noStrike" cap="none" spc="0" baseline="0">
                <a:solidFill>
                  <a:srgbClr val="000000"/>
                </a:solidFill>
                <a:effectLst/>
                <a:latin typeface="Calibri"/>
                <a:ea typeface="Calibri"/>
                <a:cs typeface="Calibri"/>
              </a:rPr>
              <a:t>(PDF veya Excel Çalışma Kitabına Tıklayın: Sera Gazı Emisyon Faktörleri Merkezi) </a:t>
            </a:r>
          </a:p>
        </p:txBody>
      </p:sp>
      <p:sp>
        <p:nvSpPr>
          <p:cNvPr id="76" name="TextBox 75">
            <a:hlinkClick r:id="rId7"/>
            <a:extLst>
              <a:ext uri="{FF2B5EF4-FFF2-40B4-BE49-F238E27FC236}">
                <a16:creationId xmlns:a16="http://schemas.microsoft.com/office/drawing/2014/main" id="{1D0C32F3-87E5-5F0B-5629-5A2412E582D0}"/>
              </a:ext>
            </a:extLst>
          </p:cNvPr>
          <p:cNvSpPr txBox="1"/>
          <p:nvPr/>
        </p:nvSpPr>
        <p:spPr>
          <a:xfrm>
            <a:off x="6154526" y="4033605"/>
            <a:ext cx="5424638" cy="1087035"/>
          </a:xfrm>
          <a:prstGeom prst="rect">
            <a:avLst/>
          </a:prstGeom>
          <a:solidFill>
            <a:schemeClr val="accent5">
              <a:lumMod val="20000"/>
              <a:lumOff val="80000"/>
            </a:schemeClr>
          </a:solidFill>
        </p:spPr>
        <p:txBody>
          <a:bodyPr wrap="square">
            <a:noAutofit/>
          </a:bodyPr>
          <a:lstStyle/>
          <a:p>
            <a:pPr marL="0" marR="0">
              <a:spcBef>
                <a:spcPct val="0"/>
              </a:spcBef>
              <a:spcAft>
                <a:spcPts val="600"/>
              </a:spcAft>
            </a:pPr>
            <a:r>
              <a:rPr lang="tr-TR" sz="1400" b="1" i="0" strike="noStrike" cap="none" spc="0" baseline="0">
                <a:solidFill>
                  <a:srgbClr val="000000"/>
                </a:solidFill>
                <a:effectLst/>
                <a:latin typeface="Calibri"/>
                <a:ea typeface="Calibri"/>
                <a:cs typeface="Calibri"/>
              </a:rPr>
              <a:t>Birleşik Krallık Çevre Gıda ve Kırsal İşler Departmanı (DEFRA) </a:t>
            </a:r>
          </a:p>
          <a:p>
            <a:pPr marL="0" marR="0">
              <a:spcBef>
                <a:spcPct val="0"/>
              </a:spcBef>
              <a:spcAft>
                <a:spcPts val="1200"/>
              </a:spcAft>
            </a:pPr>
            <a:r>
              <a:rPr lang="tr-TR" sz="1400" b="1" i="0" strike="noStrike" cap="none" spc="0" baseline="0">
                <a:solidFill>
                  <a:srgbClr val="0065E5"/>
                </a:solidFill>
                <a:effectLst/>
                <a:latin typeface="Calibri"/>
                <a:ea typeface="Calibri"/>
                <a:cs typeface="Calibri"/>
                <a:hlinkClick r:id="rId7" history="0"/>
              </a:rPr>
              <a:t>Buradan </a:t>
            </a:r>
            <a:r>
              <a:rPr lang="tr-TR" sz="1400" b="0" i="0" strike="noStrike" cap="none" spc="0" baseline="0">
                <a:solidFill>
                  <a:srgbClr val="000000"/>
                </a:solidFill>
                <a:effectLst/>
                <a:latin typeface="Calibri"/>
                <a:ea typeface="Calibri"/>
                <a:cs typeface="Calibri"/>
              </a:rPr>
              <a:t>erişin</a:t>
            </a:r>
            <a:endParaRPr lang="en-US" sz="1400">
              <a:solidFill>
                <a:schemeClr val="accent5"/>
              </a:solidFill>
              <a:effectLst/>
            </a:endParaRPr>
          </a:p>
        </p:txBody>
      </p:sp>
      <p:sp>
        <p:nvSpPr>
          <p:cNvPr id="82" name="TextBox 81">
            <a:extLst>
              <a:ext uri="{FF2B5EF4-FFF2-40B4-BE49-F238E27FC236}">
                <a16:creationId xmlns:a16="http://schemas.microsoft.com/office/drawing/2014/main" id="{86A6CF5E-110E-72FE-5583-B7CB0426F83A}"/>
              </a:ext>
            </a:extLst>
          </p:cNvPr>
          <p:cNvSpPr txBox="1"/>
          <p:nvPr/>
        </p:nvSpPr>
        <p:spPr>
          <a:xfrm>
            <a:off x="610653" y="5188152"/>
            <a:ext cx="5428915" cy="519684"/>
          </a:xfrm>
          <a:prstGeom prst="rect">
            <a:avLst/>
          </a:prstGeom>
          <a:solidFill>
            <a:schemeClr val="accent4">
              <a:lumMod val="20000"/>
              <a:lumOff val="80000"/>
            </a:schemeClr>
          </a:solidFill>
        </p:spPr>
        <p:txBody>
          <a:bodyPr wrap="square" rtlCol="0" anchor="ctr">
            <a:noAutofit/>
          </a:bodyPr>
          <a:lstStyle/>
          <a:p>
            <a:r>
              <a:rPr lang="tr-TR" sz="1400" b="0" i="0" strike="noStrike" cap="none" spc="0" baseline="0">
                <a:solidFill>
                  <a:srgbClr val="000000"/>
                </a:solidFill>
                <a:effectLst/>
                <a:latin typeface="Calibri"/>
                <a:ea typeface="Calibri"/>
                <a:cs typeface="Calibri"/>
              </a:rPr>
              <a:t>Fabrikanız ABD'deyse bunu kullanın</a:t>
            </a:r>
          </a:p>
        </p:txBody>
      </p:sp>
      <p:sp>
        <p:nvSpPr>
          <p:cNvPr id="83" name="TextBox 82">
            <a:extLst>
              <a:ext uri="{FF2B5EF4-FFF2-40B4-BE49-F238E27FC236}">
                <a16:creationId xmlns:a16="http://schemas.microsoft.com/office/drawing/2014/main" id="{E2C4066F-1AC0-2C3B-095C-CC7DDC76DE02}"/>
              </a:ext>
            </a:extLst>
          </p:cNvPr>
          <p:cNvSpPr txBox="1"/>
          <p:nvPr/>
        </p:nvSpPr>
        <p:spPr>
          <a:xfrm>
            <a:off x="6154526" y="5188152"/>
            <a:ext cx="5424638" cy="519684"/>
          </a:xfrm>
          <a:prstGeom prst="rect">
            <a:avLst/>
          </a:prstGeom>
          <a:solidFill>
            <a:schemeClr val="accent4">
              <a:lumMod val="20000"/>
              <a:lumOff val="80000"/>
            </a:schemeClr>
          </a:solidFill>
        </p:spPr>
        <p:txBody>
          <a:bodyPr wrap="square" rtlCol="0" anchor="ctr">
            <a:noAutofit/>
          </a:bodyPr>
          <a:lstStyle/>
          <a:p>
            <a:r>
              <a:rPr lang="tr-TR" sz="1400" b="0" i="0" strike="noStrike" cap="none" spc="0" baseline="0">
                <a:solidFill>
                  <a:srgbClr val="000000"/>
                </a:solidFill>
                <a:effectLst/>
                <a:latin typeface="Calibri"/>
                <a:ea typeface="Calibri"/>
                <a:cs typeface="Calibri"/>
              </a:rPr>
              <a:t>Fabrikanız İngiltere'deyse bunu kullanın </a:t>
            </a:r>
            <a:r>
              <a:rPr lang="tr-TR" sz="1400" b="1" i="0" strike="noStrike" cap="none" spc="0" baseline="0">
                <a:solidFill>
                  <a:srgbClr val="000000"/>
                </a:solidFill>
                <a:effectLst/>
                <a:latin typeface="Calibri"/>
                <a:ea typeface="Calibri"/>
                <a:cs typeface="Calibri"/>
              </a:rPr>
              <a:t>Bu emisyon faktörleri diğer ülkeler için de örnek olarak kullanılabilir.</a:t>
            </a: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a:lstStyle/>
          <a:p>
            <a:r>
              <a:rPr lang="tr-TR" sz="3200" b="1" i="0" strike="noStrike" cap="none" spc="-20" baseline="0">
                <a:solidFill>
                  <a:srgbClr val="FFFFFF"/>
                </a:solidFill>
                <a:effectLst/>
                <a:latin typeface="Calibri"/>
                <a:ea typeface="Calibri"/>
                <a:cs typeface="Calibri"/>
              </a:rPr>
              <a:t>c) Kapsam 1 emisyon faktörlerinin toplanması</a:t>
            </a:r>
          </a:p>
        </p:txBody>
      </p:sp>
      <p:sp>
        <p:nvSpPr>
          <p:cNvPr id="20" name="Arrow: Bent 19">
            <a:extLst>
              <a:ext uri="{FF2B5EF4-FFF2-40B4-BE49-F238E27FC236}">
                <a16:creationId xmlns:a16="http://schemas.microsoft.com/office/drawing/2014/main" id="{C5851AFF-1394-0B90-5E46-473F81D79836}"/>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Arrow: Bent 69">
            <a:extLst>
              <a:ext uri="{FF2B5EF4-FFF2-40B4-BE49-F238E27FC236}">
                <a16:creationId xmlns:a16="http://schemas.microsoft.com/office/drawing/2014/main" id="{75D8A968-804B-7216-C157-AC6B027F8D75}"/>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 name="Group 4">
            <a:extLst>
              <a:ext uri="{FF2B5EF4-FFF2-40B4-BE49-F238E27FC236}">
                <a16:creationId xmlns:a16="http://schemas.microsoft.com/office/drawing/2014/main" id="{993FA60E-8440-4362-E83A-3FBE0922EC16}"/>
              </a:ext>
            </a:extLst>
          </p:cNvPr>
          <p:cNvGrpSpPr/>
          <p:nvPr/>
        </p:nvGrpSpPr>
        <p:grpSpPr>
          <a:xfrm>
            <a:off x="606424" y="2445500"/>
            <a:ext cx="5426731" cy="3221128"/>
            <a:chOff x="606424" y="2445500"/>
            <a:chExt cx="5426731" cy="3221128"/>
          </a:xfrm>
        </p:grpSpPr>
        <p:sp>
          <p:nvSpPr>
            <p:cNvPr id="18" name="Arrow: Bent 17">
              <a:extLst>
                <a:ext uri="{FF2B5EF4-FFF2-40B4-BE49-F238E27FC236}">
                  <a16:creationId xmlns:a16="http://schemas.microsoft.com/office/drawing/2014/main" id="{A27E0721-61ED-628B-5D36-9BF4A63D64BB}"/>
                </a:ext>
              </a:extLst>
            </p:cNvPr>
            <p:cNvSpPr/>
            <p:nvPr/>
          </p:nvSpPr>
          <p:spPr>
            <a:xfrm rot="5400000" flipV="1">
              <a:off x="2129666" y="922258"/>
              <a:ext cx="1578968"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Arrow: Bent 18">
              <a:extLst>
                <a:ext uri="{FF2B5EF4-FFF2-40B4-BE49-F238E27FC236}">
                  <a16:creationId xmlns:a16="http://schemas.microsoft.com/office/drawing/2014/main" id="{01B6D77B-C944-DDDC-1FDF-11965966242A}"/>
                </a:ext>
              </a:extLst>
            </p:cNvPr>
            <p:cNvSpPr/>
            <p:nvPr/>
          </p:nvSpPr>
          <p:spPr>
            <a:xfrm rot="16200000" flipH="1" flipV="1">
              <a:off x="290158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 name="Group 5">
            <a:extLst>
              <a:ext uri="{FF2B5EF4-FFF2-40B4-BE49-F238E27FC236}">
                <a16:creationId xmlns:a16="http://schemas.microsoft.com/office/drawing/2014/main" id="{F89E74B6-6C08-E1F4-38FC-ECD3E5E1F1D7}"/>
              </a:ext>
            </a:extLst>
          </p:cNvPr>
          <p:cNvGrpSpPr/>
          <p:nvPr/>
        </p:nvGrpSpPr>
        <p:grpSpPr>
          <a:xfrm>
            <a:off x="6152434" y="2445502"/>
            <a:ext cx="5426730" cy="3221128"/>
            <a:chOff x="6152434" y="2445502"/>
            <a:chExt cx="5426730" cy="3221128"/>
          </a:xfrm>
        </p:grpSpPr>
        <p:sp>
          <p:nvSpPr>
            <p:cNvPr id="79" name="Arrow: Bent 78">
              <a:extLst>
                <a:ext uri="{FF2B5EF4-FFF2-40B4-BE49-F238E27FC236}">
                  <a16:creationId xmlns:a16="http://schemas.microsoft.com/office/drawing/2014/main" id="{7CB7AADE-7F5D-66BA-DD70-D33082A372A9}"/>
                </a:ext>
              </a:extLst>
            </p:cNvPr>
            <p:cNvSpPr/>
            <p:nvPr/>
          </p:nvSpPr>
          <p:spPr>
            <a:xfrm rot="5400000" flipV="1">
              <a:off x="6854596" y="1743340"/>
              <a:ext cx="3221127"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Arrow: Bent 79">
              <a:extLst>
                <a:ext uri="{FF2B5EF4-FFF2-40B4-BE49-F238E27FC236}">
                  <a16:creationId xmlns:a16="http://schemas.microsoft.com/office/drawing/2014/main" id="{D052E7B5-546E-46F6-37C4-3BE6B6F93052}"/>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1" name="Arrow: U-Turn 80">
            <a:extLst>
              <a:ext uri="{FF2B5EF4-FFF2-40B4-BE49-F238E27FC236}">
                <a16:creationId xmlns:a16="http://schemas.microsoft.com/office/drawing/2014/main" id="{29A9200B-B292-E407-EB33-8E10984407D1}"/>
              </a:ext>
            </a:extLst>
          </p:cNvPr>
          <p:cNvSpPr/>
          <p:nvPr/>
        </p:nvSpPr>
        <p:spPr>
          <a:xfrm rot="10800000">
            <a:off x="6033215" y="4932847"/>
            <a:ext cx="119218" cy="860733"/>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8" name="Rectangle 87">
            <a:hlinkClick r:id="rId8"/>
            <a:extLst>
              <a:ext uri="{FF2B5EF4-FFF2-40B4-BE49-F238E27FC236}">
                <a16:creationId xmlns:a16="http://schemas.microsoft.com/office/drawing/2014/main" id="{A8F74ADF-7F6F-CAE0-295C-E9C518FD6088}"/>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r>
              <a:rPr lang="tr-TR" sz="1400" b="0" i="0" strike="noStrike" cap="none" spc="0" baseline="0">
                <a:solidFill>
                  <a:srgbClr val="FFFFFF"/>
                </a:solidFill>
                <a:effectLst/>
                <a:latin typeface="Calibri"/>
                <a:ea typeface="Calibri"/>
                <a:cs typeface="Calibri"/>
                <a:hlinkClick r:id="rId8" history="0"/>
              </a:rPr>
              <a:t>Bu veri tabanlarının gezinmek için biraz kafa karıştırıcı olduğunun farkındayız; lütfen ek rehberlik için emisyon faktörü eğitim</a:t>
            </a:r>
            <a:br>
              <a:rPr sz="1400"/>
            </a:br>
            <a:r>
              <a:rPr lang="tr-TR" sz="1400" b="0" i="0" strike="noStrike" cap="none" spc="0" baseline="0">
                <a:solidFill>
                  <a:srgbClr val="FFFFFF"/>
                </a:solidFill>
                <a:effectLst/>
                <a:latin typeface="Calibri"/>
                <a:ea typeface="Calibri"/>
                <a:cs typeface="Calibri"/>
                <a:hlinkClick r:id="rId8" history="0"/>
              </a:rPr>
              <a:t> videosuna bakın. </a:t>
            </a:r>
            <a:endParaRPr lang="en-US" sz="1400">
              <a:solidFill>
                <a:schemeClr val="bg1"/>
              </a:solidFill>
            </a:endParaRPr>
          </a:p>
        </p:txBody>
      </p:sp>
      <p:grpSp>
        <p:nvGrpSpPr>
          <p:cNvPr id="96" name="Group 95">
            <a:extLst>
              <a:ext uri="{FF2B5EF4-FFF2-40B4-BE49-F238E27FC236}">
                <a16:creationId xmlns:a16="http://schemas.microsoft.com/office/drawing/2014/main" id="{1C8E6F86-A5A6-DA40-04BC-23DD9D5F3201}"/>
              </a:ext>
            </a:extLst>
          </p:cNvPr>
          <p:cNvGrpSpPr/>
          <p:nvPr/>
        </p:nvGrpSpPr>
        <p:grpSpPr>
          <a:xfrm>
            <a:off x="719099" y="5927416"/>
            <a:ext cx="430818" cy="430818"/>
            <a:chOff x="-5409218" y="-2183035"/>
            <a:chExt cx="3810000" cy="3810000"/>
          </a:xfrm>
        </p:grpSpPr>
        <p:pic>
          <p:nvPicPr>
            <p:cNvPr id="92" name="Graphic 91">
              <a:extLst>
                <a:ext uri="{FF2B5EF4-FFF2-40B4-BE49-F238E27FC236}">
                  <a16:creationId xmlns:a16="http://schemas.microsoft.com/office/drawing/2014/main" id="{04FF4757-D113-1C81-9C07-33B83D60449F}"/>
                </a:ext>
              </a:extLst>
            </p:cNvPr>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09218" y="-2183035"/>
              <a:ext cx="3810000" cy="3810000"/>
            </a:xfrm>
            <a:prstGeom prst="rect">
              <a:avLst/>
            </a:prstGeom>
          </p:spPr>
        </p:pic>
        <p:sp>
          <p:nvSpPr>
            <p:cNvPr id="94" name="Freeform: Shape 93">
              <a:extLst>
                <a:ext uri="{FF2B5EF4-FFF2-40B4-BE49-F238E27FC236}">
                  <a16:creationId xmlns:a16="http://schemas.microsoft.com/office/drawing/2014/main" id="{7739C7E7-D959-FB1D-24D8-C246AC995E17}"/>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8CB37F9D-761D-7803-FF65-E17B651D7A11}"/>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sp>
        <p:nvSpPr>
          <p:cNvPr id="32" name="Text Placeholder 2">
            <a:extLst>
              <a:ext uri="{FF2B5EF4-FFF2-40B4-BE49-F238E27FC236}">
                <a16:creationId xmlns:a16="http://schemas.microsoft.com/office/drawing/2014/main" id="{20511EBC-E1C2-BD91-AEC7-26BD2472EE57}"/>
              </a:ext>
            </a:extLst>
          </p:cNvPr>
          <p:cNvSpPr txBox="1"/>
          <p:nvPr/>
        </p:nvSpPr>
        <p:spPr>
          <a:xfrm>
            <a:off x="609231" y="1179516"/>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tr-TR" sz="1600" b="0" i="0" strike="noStrike" cap="none" spc="0" baseline="0">
                <a:solidFill>
                  <a:srgbClr val="000000"/>
                </a:solidFill>
                <a:effectLst/>
                <a:latin typeface="Calibri"/>
                <a:ea typeface="Calibri"/>
                <a:cs typeface="Calibri"/>
              </a:rPr>
              <a:t>Emisyon faktörleri için “tek durak noktası” yoktur. Farklı organizasyonlar ve kurumlar, faktörleri farklı şekillerde geliştirmek için veri toplar ve bu da farklı faktörlerle sonuçlanır. Ayrıca, bilim geliştikçe ve yöntemler geliştikçe emisyon faktörleri revize edilir ve/veya iyileştirilir. </a:t>
            </a:r>
          </a:p>
          <a:p>
            <a:pPr>
              <a:lnSpc>
                <a:spcPct val="100000"/>
              </a:lnSpc>
              <a:spcBef>
                <a:spcPts val="600"/>
              </a:spcBef>
            </a:pPr>
            <a:r>
              <a:rPr lang="tr-TR" sz="1600" b="0" i="0" strike="noStrike" cap="none" spc="0" baseline="0">
                <a:solidFill>
                  <a:srgbClr val="000000"/>
                </a:solidFill>
                <a:effectLst/>
                <a:latin typeface="Calibri"/>
                <a:ea typeface="Calibri"/>
                <a:cs typeface="Calibri"/>
              </a:rPr>
              <a:t>Kapsam 1 emisyon muhasebesi için en yaygın kullanılan veritabanı aşağıdadır.</a:t>
            </a:r>
          </a:p>
        </p:txBody>
      </p:sp>
      <p:pic>
        <p:nvPicPr>
          <p:cNvPr id="9218" name="Picture 2" descr="United States Environmental Protection Agency - Wikipedia">
            <a:extLst>
              <a:ext uri="{FF2B5EF4-FFF2-40B4-BE49-F238E27FC236}">
                <a16:creationId xmlns:a16="http://schemas.microsoft.com/office/drawing/2014/main" id="{0E29ACD5-3E22-BA8B-0046-A2EBDCEB5E48}"/>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2618992" y="2533650"/>
            <a:ext cx="1401594" cy="140159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defra-logo">
            <a:extLst>
              <a:ext uri="{FF2B5EF4-FFF2-40B4-BE49-F238E27FC236}">
                <a16:creationId xmlns:a16="http://schemas.microsoft.com/office/drawing/2014/main" id="{0A9BD4F4-6B69-807D-BF69-ECC145AE3DF0}"/>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7977060" y="2559453"/>
            <a:ext cx="1777478" cy="13793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2E2ADC6-EA11-8568-AC44-8BF2463BC7E7}"/>
              </a:ext>
            </a:extLst>
          </p:cNvPr>
          <p:cNvSpPr txBox="1"/>
          <p:nvPr/>
        </p:nvSpPr>
        <p:spPr>
          <a:xfrm>
            <a:off x="6152433" y="2445500"/>
            <a:ext cx="5428914" cy="3339502"/>
          </a:xfrm>
          <a:prstGeom prst="rect">
            <a:avLst/>
          </a:prstGeom>
          <a:noFill/>
          <a:ln w="28575">
            <a:solidFill>
              <a:srgbClr val="FF0000"/>
            </a:solidFill>
          </a:ln>
        </p:spPr>
        <p:txBody>
          <a:bodyPr wrap="square" rtlCol="0">
            <a:spAutoFit/>
          </a:bodyPr>
          <a:lstStyle/>
          <a:p>
            <a:endParaRPr lang="en-US"/>
          </a:p>
        </p:txBody>
      </p:sp>
    </p:spTree>
    <p:extLst>
      <p:ext uri="{BB962C8B-B14F-4D97-AF65-F5344CB8AC3E}">
        <p14:creationId xmlns:p14="http://schemas.microsoft.com/office/powerpoint/2010/main" val="347095994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EAD24B-E3ED-9BB9-3577-9A2520424311}"/>
              </a:ext>
            </a:extLst>
          </p:cNvPr>
          <p:cNvGraphicFramePr>
            <a:graphicFrameLocks noChangeAspect="1"/>
          </p:cNvGraphicFramePr>
          <p:nvPr>
            <p:custDataLst>
              <p:tags r:id="rId1"/>
            </p:custDataLst>
            <p:extLst>
              <p:ext uri="{D42A27DB-BD31-4B8C-83A1-F6EECF244321}">
                <p14:modId xmlns:p14="http://schemas.microsoft.com/office/powerpoint/2010/main" val="3724107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BBEAD24B-E3ED-9BB9-3577-9A25204243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1C9EDFD-D155-2DA1-D882-4549798EB4BE}"/>
              </a:ext>
            </a:extLst>
          </p:cNvPr>
          <p:cNvSpPr/>
          <p:nvPr/>
        </p:nvSpPr>
        <p:spPr>
          <a:xfrm>
            <a:off x="606425" y="4649820"/>
            <a:ext cx="10954953" cy="1741251"/>
          </a:xfrm>
          <a:prstGeom prst="rect">
            <a:avLst/>
          </a:prstGeom>
          <a:solidFill>
            <a:schemeClr val="bg1">
              <a:lumMod val="9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r>
              <a:rPr lang="tr-TR" sz="1800" b="1" i="0" strike="noStrike" cap="none" spc="0" baseline="0">
                <a:solidFill>
                  <a:srgbClr val="0065E5"/>
                </a:solidFill>
                <a:effectLst/>
                <a:latin typeface="Calibri"/>
                <a:ea typeface="Calibri"/>
                <a:cs typeface="Calibri"/>
              </a:rPr>
              <a:t>Zaman sınırlaması nedeniyle, bu oturumda Kaçak Emisyonları ele almayacağız. Kaçak emisyonları hesaplama konusunda rehberlik için lütfen aşağıdaki kaynaklara başvurun: </a:t>
            </a:r>
          </a:p>
          <a:p>
            <a:pPr marL="282575" lvl="1" indent="-171450">
              <a:spcBef>
                <a:spcPts val="400"/>
              </a:spcBef>
              <a:spcAft>
                <a:spcPts val="600"/>
              </a:spcAft>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Microsoft Kapsam 1 </a:t>
            </a:r>
            <a:r>
              <a:rPr lang="tr-TR" sz="1600" b="0" i="0" strike="noStrike" cap="none" spc="0" baseline="0">
                <a:solidFill>
                  <a:srgbClr val="0065E5"/>
                </a:solidFill>
                <a:effectLst/>
                <a:latin typeface="Calibri"/>
                <a:ea typeface="Calibri"/>
                <a:cs typeface="Calibri"/>
                <a:hlinkClick r:id="rId6" history="0"/>
              </a:rPr>
              <a:t>eğitimi</a:t>
            </a:r>
            <a:r>
              <a:rPr lang="tr-TR" sz="1600" b="0" i="0" strike="noStrike" cap="none" spc="0" baseline="0">
                <a:solidFill>
                  <a:srgbClr val="0065E5"/>
                </a:solidFill>
                <a:effectLst/>
                <a:latin typeface="Calibri"/>
                <a:ea typeface="Calibri"/>
                <a:cs typeface="Calibri"/>
              </a:rPr>
              <a:t>,</a:t>
            </a:r>
            <a:r>
              <a:rPr lang="tr-TR" sz="1600" b="0" i="0" strike="noStrike" cap="none" spc="0" baseline="0">
                <a:solidFill>
                  <a:srgbClr val="000000"/>
                </a:solidFill>
                <a:effectLst/>
                <a:latin typeface="Calibri"/>
                <a:ea typeface="Calibri"/>
                <a:cs typeface="Calibri"/>
              </a:rPr>
              <a:t> Slayt 26-29</a:t>
            </a:r>
          </a:p>
          <a:p>
            <a:pPr marL="282575" lvl="1" indent="-171450">
              <a:spcBef>
                <a:spcPts val="400"/>
              </a:spcBef>
              <a:spcAft>
                <a:spcPts val="600"/>
              </a:spcAft>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EPA Sera Gazı Envanter Kılavuzu: </a:t>
            </a:r>
            <a:r>
              <a:rPr lang="tr-TR" sz="1600" b="0" i="0" strike="noStrike" cap="none" spc="0" baseline="0">
                <a:solidFill>
                  <a:srgbClr val="0065E5"/>
                </a:solidFill>
                <a:effectLst/>
                <a:latin typeface="Calibri"/>
                <a:ea typeface="Calibri"/>
                <a:cs typeface="Calibri"/>
                <a:hlinkClick r:id="rId7" history="0"/>
              </a:rPr>
              <a:t>Doğrudan Kaçak Emisyonlar</a:t>
            </a:r>
            <a:endParaRPr lang="en-US" sz="1600">
              <a:solidFill>
                <a:schemeClr val="accent5"/>
              </a:solidFill>
            </a:endParaRPr>
          </a:p>
        </p:txBody>
      </p:sp>
      <p:sp>
        <p:nvSpPr>
          <p:cNvPr id="2" name="Title 1">
            <a:extLst>
              <a:ext uri="{FF2B5EF4-FFF2-40B4-BE49-F238E27FC236}">
                <a16:creationId xmlns:a16="http://schemas.microsoft.com/office/drawing/2014/main" id="{94C56820-3711-56A4-7E99-C67ED0082868}"/>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Kaçak emisyonlar</a:t>
            </a:r>
          </a:p>
        </p:txBody>
      </p:sp>
      <p:sp>
        <p:nvSpPr>
          <p:cNvPr id="14" name="Rectangle 13">
            <a:extLst>
              <a:ext uri="{FF2B5EF4-FFF2-40B4-BE49-F238E27FC236}">
                <a16:creationId xmlns:a16="http://schemas.microsoft.com/office/drawing/2014/main" id="{F8F94C10-DA95-8057-C5BF-1D13A358C1E6}"/>
              </a:ext>
            </a:extLst>
          </p:cNvPr>
          <p:cNvSpPr/>
          <p:nvPr/>
        </p:nvSpPr>
        <p:spPr>
          <a:xfrm>
            <a:off x="609230" y="1195387"/>
            <a:ext cx="10969995" cy="414337"/>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r>
              <a:rPr lang="tr-TR" sz="1800" b="1" i="0" strike="noStrike" cap="none" spc="0" baseline="0">
                <a:solidFill>
                  <a:srgbClr val="FFFFFF"/>
                </a:solidFill>
                <a:effectLst/>
                <a:latin typeface="Calibri"/>
                <a:ea typeface="Calibri"/>
                <a:cs typeface="Calibri"/>
              </a:rPr>
              <a:t>Kaçak emisyonlar nelerdir?</a:t>
            </a:r>
          </a:p>
        </p:txBody>
      </p:sp>
      <p:sp>
        <p:nvSpPr>
          <p:cNvPr id="16" name="TextBox 15">
            <a:extLst>
              <a:ext uri="{FF2B5EF4-FFF2-40B4-BE49-F238E27FC236}">
                <a16:creationId xmlns:a16="http://schemas.microsoft.com/office/drawing/2014/main" id="{823888BA-929D-61B6-1A60-2918093C77F2}"/>
              </a:ext>
            </a:extLst>
          </p:cNvPr>
          <p:cNvSpPr txBox="1"/>
          <p:nvPr/>
        </p:nvSpPr>
        <p:spPr>
          <a:xfrm>
            <a:off x="606425" y="1762249"/>
            <a:ext cx="6403975" cy="2438400"/>
          </a:xfrm>
          <a:prstGeom prst="rect">
            <a:avLst/>
          </a:prstGeom>
          <a:noFill/>
        </p:spPr>
        <p:txBody>
          <a:bodyPr wrap="square">
            <a:spAutoFit/>
          </a:bodyPr>
          <a:lstStyle/>
          <a:p>
            <a:pPr marL="233363" lvl="1" indent="-233363">
              <a:spcBef>
                <a:spcPts val="12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Yakıtların ve bir yığın, baca, havalandırma veya egzoz borusundan geçmeyen diğer maddelerin üretiminden, işlenmesinden, iletiminden, depolanmasından ve kullanımından </a:t>
            </a:r>
            <a:r>
              <a:rPr lang="tr-TR" sz="1600" b="1" i="0" strike="noStrike" cap="none" spc="0" baseline="0">
                <a:solidFill>
                  <a:srgbClr val="000000"/>
                </a:solidFill>
                <a:effectLst/>
                <a:latin typeface="Calibri"/>
                <a:ea typeface="Calibri"/>
                <a:cs typeface="Calibri"/>
              </a:rPr>
              <a:t>kasıtlı veya kasıtsız</a:t>
            </a:r>
            <a:r>
              <a:rPr lang="tr-TR" sz="1600" b="0" i="0" strike="noStrike" cap="none" spc="0" baseline="0">
                <a:solidFill>
                  <a:srgbClr val="000000"/>
                </a:solidFill>
                <a:effectLst/>
                <a:latin typeface="Calibri"/>
                <a:ea typeface="Calibri"/>
                <a:cs typeface="Calibri"/>
              </a:rPr>
              <a:t> olarak çıkan emisyonlar.</a:t>
            </a:r>
          </a:p>
          <a:p>
            <a:pPr marL="233363" lvl="1" indent="-233363">
              <a:spcBef>
                <a:spcPts val="12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En yaygın kaçak emisyon biçimi, çok yüksek GWP seviyelerine sahip sera gazları olan hidroflorokarbonlar (HFC’ler) ve perflorokarbonlar (PFC’ler) salan </a:t>
            </a:r>
            <a:r>
              <a:rPr lang="tr-TR" sz="1600" b="1" i="0" strike="noStrike" cap="none" spc="0" baseline="0">
                <a:solidFill>
                  <a:srgbClr val="000000"/>
                </a:solidFill>
                <a:effectLst/>
                <a:latin typeface="Calibri"/>
                <a:ea typeface="Calibri"/>
                <a:cs typeface="Calibri"/>
              </a:rPr>
              <a:t>soğutma ve klima (AC)</a:t>
            </a:r>
            <a:r>
              <a:rPr lang="tr-TR" sz="1600" b="0" i="0" strike="noStrike" cap="none" spc="0" baseline="0">
                <a:solidFill>
                  <a:srgbClr val="000000"/>
                </a:solidFill>
                <a:effectLst/>
                <a:latin typeface="Calibri"/>
                <a:ea typeface="Calibri"/>
                <a:cs typeface="Calibri"/>
              </a:rPr>
              <a:t> ekipmanının kullanılmasından kaynaklanır. Şirketiniz soğutma veya klima ekipmanı kullanıyorsa, muhtemelen bu emisyonların bir kısmına sahip olacaksınız.</a:t>
            </a:r>
          </a:p>
        </p:txBody>
      </p:sp>
      <p:sp>
        <p:nvSpPr>
          <p:cNvPr id="3" name="Rectangle 2 - 1">
            <a:extLst>
              <a:ext uri="{FF2B5EF4-FFF2-40B4-BE49-F238E27FC236}">
                <a16:creationId xmlns:a16="http://schemas.microsoft.com/office/drawing/2014/main" id="{B8343C63-FDD3-E4C2-DEFD-E1A1782990CE}"/>
              </a:ext>
            </a:extLst>
          </p:cNvPr>
          <p:cNvSpPr/>
          <p:nvPr/>
        </p:nvSpPr>
        <p:spPr>
          <a:xfrm>
            <a:off x="606426" y="1609724"/>
            <a:ext cx="10972800" cy="2867026"/>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
            <a:extLst>
              <a:ext uri="{FF2B5EF4-FFF2-40B4-BE49-F238E27FC236}">
                <a16:creationId xmlns:a16="http://schemas.microsoft.com/office/drawing/2014/main" id="{153C398C-38A7-0BF0-A885-0D0E112CE4CE}"/>
              </a:ext>
            </a:extLst>
          </p:cNvPr>
          <p:cNvSpPr/>
          <p:nvPr/>
        </p:nvSpPr>
        <p:spPr>
          <a:xfrm rot="16200000" flipV="1">
            <a:off x="379412" y="4703760"/>
            <a:ext cx="2139947" cy="1685925"/>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Could Air-Conditioning Fix Climate Change?">
            <a:extLst>
              <a:ext uri="{FF2B5EF4-FFF2-40B4-BE49-F238E27FC236}">
                <a16:creationId xmlns:a16="http://schemas.microsoft.com/office/drawing/2014/main" id="{491800CB-0788-41CA-8DAA-089B198713DE}"/>
              </a:ext>
            </a:extLst>
          </p:cNvPr>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a:off x="7156580" y="1628386"/>
            <a:ext cx="4405577" cy="283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6088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CC0107D-B955-02AC-F7AE-544AD579D4BF}"/>
              </a:ext>
            </a:extLst>
          </p:cNvPr>
          <p:cNvGraphicFramePr>
            <a:graphicFrameLocks noChangeAspect="1"/>
          </p:cNvGraphicFramePr>
          <p:nvPr>
            <p:custDataLst>
              <p:tags r:id="rId1"/>
            </p:custDataLst>
            <p:extLst>
              <p:ext uri="{D42A27DB-BD31-4B8C-83A1-F6EECF244321}">
                <p14:modId xmlns:p14="http://schemas.microsoft.com/office/powerpoint/2010/main" val="401810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0" name="Object 19" hidden="1">
                        <a:extLst>
                          <a:ext uri="{FF2B5EF4-FFF2-40B4-BE49-F238E27FC236}">
                            <a16:creationId xmlns:a16="http://schemas.microsoft.com/office/drawing/2014/main" id="{7CC0107D-B955-02AC-F7AE-544AD579D4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E9CF7600-6605-FAF9-D0A6-2AA418644685}"/>
              </a:ext>
            </a:extLst>
          </p:cNvPr>
          <p:cNvSpPr/>
          <p:nvPr/>
        </p:nvSpPr>
        <p:spPr>
          <a:xfrm>
            <a:off x="606425" y="2325489"/>
            <a:ext cx="1136645" cy="728995"/>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marL="0" marR="0" lvl="0" indent="0" algn="l" defTabSz="914400" rtl="0" eaLnBrk="1" fontAlgn="auto" latinLnBrk="0" hangingPunct="1">
              <a:spcBef>
                <a:spcPts val="563"/>
              </a:spcBef>
              <a:spcAft>
                <a:spcPct val="0"/>
              </a:spcAft>
              <a:buClrTx/>
              <a:buSzTx/>
              <a:buFontTx/>
              <a:buNone/>
              <a:defRPr/>
            </a:pPr>
            <a:r>
              <a:rPr lang="tr-TR" sz="1600" b="1" i="0" strike="noStrike" cap="none" spc="0" baseline="0">
                <a:solidFill>
                  <a:srgbClr val="0065E5"/>
                </a:solidFill>
                <a:effectLst/>
                <a:latin typeface="Calibri"/>
                <a:ea typeface="Calibri"/>
                <a:cs typeface="Calibri"/>
              </a:rPr>
              <a:t>Tanım</a:t>
            </a:r>
          </a:p>
        </p:txBody>
      </p:sp>
      <p:sp>
        <p:nvSpPr>
          <p:cNvPr id="31" name="Rectangle 30">
            <a:extLst>
              <a:ext uri="{FF2B5EF4-FFF2-40B4-BE49-F238E27FC236}">
                <a16:creationId xmlns:a16="http://schemas.microsoft.com/office/drawing/2014/main" id="{D6589DC3-1441-ECC6-2384-EBEC3E78B078}"/>
              </a:ext>
            </a:extLst>
          </p:cNvPr>
          <p:cNvSpPr/>
          <p:nvPr/>
        </p:nvSpPr>
        <p:spPr>
          <a:xfrm>
            <a:off x="606425" y="3149613"/>
            <a:ext cx="1136645" cy="2989929"/>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a:spcBef>
                <a:spcPts val="800"/>
              </a:spcBef>
              <a:buSzTx/>
              <a:defRPr/>
            </a:pPr>
            <a:r>
              <a:rPr lang="tr-TR" sz="1600" b="1" i="0" strike="noStrike" cap="none" spc="0" baseline="0">
                <a:solidFill>
                  <a:srgbClr val="0065E5"/>
                </a:solidFill>
                <a:effectLst/>
                <a:latin typeface="Calibri"/>
                <a:ea typeface="Calibri"/>
                <a:cs typeface="Calibri"/>
              </a:rPr>
              <a:t>Hesaplama yöntemi</a:t>
            </a:r>
          </a:p>
        </p:txBody>
      </p:sp>
      <p:sp>
        <p:nvSpPr>
          <p:cNvPr id="13" name="Rectangle 12">
            <a:extLst>
              <a:ext uri="{FF2B5EF4-FFF2-40B4-BE49-F238E27FC236}">
                <a16:creationId xmlns:a16="http://schemas.microsoft.com/office/drawing/2014/main" id="{33B94965-9F42-F01C-F132-DC3928B74E21}"/>
              </a:ext>
            </a:extLst>
          </p:cNvPr>
          <p:cNvSpPr/>
          <p:nvPr/>
        </p:nvSpPr>
        <p:spPr>
          <a:xfrm>
            <a:off x="1743072" y="1494614"/>
            <a:ext cx="9817875" cy="4644928"/>
          </a:xfrm>
          <a:custGeom>
            <a:avLst/>
            <a:gdLst>
              <a:gd name="connsiteX0" fmla="*/ 0 w 2743200"/>
              <a:gd name="connsiteY0" fmla="*/ 1866900 h 1866900"/>
              <a:gd name="connsiteX1" fmla="*/ 0 w 2743200"/>
              <a:gd name="connsiteY1" fmla="*/ 0 h 1866900"/>
              <a:gd name="connsiteX2" fmla="*/ 2743200 w 2743200"/>
              <a:gd name="connsiteY2" fmla="*/ 0 h 1866900"/>
              <a:gd name="connsiteX3" fmla="*/ 2743200 w 2743200"/>
              <a:gd name="connsiteY3" fmla="*/ 0 h 1866900"/>
              <a:gd name="connsiteX4" fmla="*/ 2834640 w 2834640"/>
              <a:gd name="connsiteY4" fmla="*/ 1958340 h 1958340"/>
            </a:gdLst>
            <a:ahLst/>
            <a:cxnLst>
              <a:cxn ang="0">
                <a:pos x="connsiteX0" y="connsiteY0"/>
              </a:cxn>
              <a:cxn ang="0">
                <a:pos x="connsiteX1" y="connsiteY1"/>
              </a:cxn>
              <a:cxn ang="0">
                <a:pos x="connsiteX2" y="connsiteY2"/>
              </a:cxn>
            </a:cxnLst>
            <a:rect l="l" t="t" r="r" b="b"/>
            <a:pathLst>
              <a:path w="2743200" h="1866900">
                <a:moveTo>
                  <a:pt x="0" y="1866900"/>
                </a:moveTo>
                <a:lnTo>
                  <a:pt x="0" y="0"/>
                </a:lnTo>
                <a:lnTo>
                  <a:pt x="2743200" y="0"/>
                </a:lnTo>
              </a:path>
            </a:pathLst>
          </a:cu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Rectangle 12">
            <a:extLst>
              <a:ext uri="{FF2B5EF4-FFF2-40B4-BE49-F238E27FC236}">
                <a16:creationId xmlns:a16="http://schemas.microsoft.com/office/drawing/2014/main" id="{41E08764-FEBE-4D4B-CA54-2F4E45EA498A}"/>
              </a:ext>
            </a:extLst>
          </p:cNvPr>
          <p:cNvSpPr/>
          <p:nvPr/>
        </p:nvSpPr>
        <p:spPr>
          <a:xfrm flipH="1">
            <a:off x="2609851" y="1494614"/>
            <a:ext cx="8969372" cy="4818636"/>
          </a:xfrm>
          <a:custGeom>
            <a:avLst/>
            <a:gdLst>
              <a:gd name="connsiteX0" fmla="*/ 0 w 2743200"/>
              <a:gd name="connsiteY0" fmla="*/ 1866900 h 1866900"/>
              <a:gd name="connsiteX1" fmla="*/ 0 w 2743200"/>
              <a:gd name="connsiteY1" fmla="*/ 0 h 1866900"/>
              <a:gd name="connsiteX2" fmla="*/ 2743200 w 2743200"/>
              <a:gd name="connsiteY2" fmla="*/ 0 h 1866900"/>
              <a:gd name="connsiteX3" fmla="*/ 2743200 w 2743200"/>
              <a:gd name="connsiteY3" fmla="*/ 0 h 1866900"/>
              <a:gd name="connsiteX4" fmla="*/ 2834640 w 2834640"/>
              <a:gd name="connsiteY4" fmla="*/ 1958340 h 1958340"/>
            </a:gdLst>
            <a:ahLst/>
            <a:cxnLst>
              <a:cxn ang="0">
                <a:pos x="connsiteX0" y="connsiteY0"/>
              </a:cxn>
              <a:cxn ang="0">
                <a:pos x="connsiteX1" y="connsiteY1"/>
              </a:cxn>
              <a:cxn ang="0">
                <a:pos x="connsiteX2" y="connsiteY2"/>
              </a:cxn>
            </a:cxnLst>
            <a:rect l="l" t="t" r="r" b="b"/>
            <a:pathLst>
              <a:path w="2743200" h="1866900">
                <a:moveTo>
                  <a:pt x="0" y="1866900"/>
                </a:moveTo>
                <a:lnTo>
                  <a:pt x="0" y="0"/>
                </a:lnTo>
                <a:lnTo>
                  <a:pt x="2743200" y="0"/>
                </a:lnTo>
              </a:path>
            </a:pathLst>
          </a:cu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Rectangle 42">
            <a:extLst>
              <a:ext uri="{FF2B5EF4-FFF2-40B4-BE49-F238E27FC236}">
                <a16:creationId xmlns:a16="http://schemas.microsoft.com/office/drawing/2014/main" id="{28D63B31-D5F8-6B5C-FF7D-0AE4A075C703}"/>
              </a:ext>
            </a:extLst>
          </p:cNvPr>
          <p:cNvSpPr/>
          <p:nvPr/>
        </p:nvSpPr>
        <p:spPr>
          <a:xfrm>
            <a:off x="1743075" y="2325489"/>
            <a:ext cx="9836148" cy="3814053"/>
          </a:xfrm>
          <a:prstGeom prst="rect">
            <a:avLst/>
          </a:prstGeom>
          <a:solidFill>
            <a:schemeClr val="bg1"/>
          </a:solidFill>
          <a:ln w="6350">
            <a:noFill/>
          </a:ln>
          <a:effectLst>
            <a:outerShdw blurRad="63500" algn="ctr" rotWithShape="0">
              <a:schemeClr val="bg1">
                <a:lumMod val="75000"/>
                <a:alpha val="40000"/>
              </a:schemeClr>
            </a:outerShdw>
          </a:effectLst>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ctr" defTabSz="610825" rtl="0" eaLnBrk="0" fontAlgn="auto" latinLnBrk="0" hangingPunct="0">
              <a:spcAft>
                <a:spcPts val="1200"/>
              </a:spcAft>
              <a:buClr>
                <a:srgbClr val="00279F"/>
              </a:buClr>
              <a:buSzPct val="85000"/>
              <a:buFontTx/>
              <a:buNone/>
              <a:defRPr/>
            </a:pPr>
            <a:endParaRPr kumimoji="0" lang="en-US" sz="800" b="1" i="0" u="none" strike="noStrike" kern="0" cap="none" normalizeH="0" baseline="0" noProof="0">
              <a:ln>
                <a:noFill/>
              </a:ln>
              <a:solidFill>
                <a:schemeClr val="bg1"/>
              </a:solidFill>
              <a:effectLst/>
              <a:uLnTx/>
              <a:uFillTx/>
              <a:ea typeface="+mn-ea"/>
              <a:cs typeface="+mn-cs"/>
            </a:endParaRPr>
          </a:p>
        </p:txBody>
      </p:sp>
      <p:sp>
        <p:nvSpPr>
          <p:cNvPr id="2" name="Title 1">
            <a:extLst>
              <a:ext uri="{FF2B5EF4-FFF2-40B4-BE49-F238E27FC236}">
                <a16:creationId xmlns:a16="http://schemas.microsoft.com/office/drawing/2014/main" id="{08120348-53D3-ECEE-03F5-5A90271DDF47}"/>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Kapsam 2 emisyonları: Konum tabanlı ve Pazar tabanlı</a:t>
            </a:r>
          </a:p>
        </p:txBody>
      </p:sp>
      <p:sp>
        <p:nvSpPr>
          <p:cNvPr id="9" name="Rectangle 8">
            <a:extLst>
              <a:ext uri="{FF2B5EF4-FFF2-40B4-BE49-F238E27FC236}">
                <a16:creationId xmlns:a16="http://schemas.microsoft.com/office/drawing/2014/main" id="{0310D834-6728-291A-A48B-5DFBB8452C7D}"/>
              </a:ext>
            </a:extLst>
          </p:cNvPr>
          <p:cNvSpPr/>
          <p:nvPr/>
        </p:nvSpPr>
        <p:spPr>
          <a:xfrm>
            <a:off x="1743075" y="1702340"/>
            <a:ext cx="4845689" cy="62315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ctr" defTabSz="610825" rtl="0" eaLnBrk="0" fontAlgn="auto" latinLnBrk="0" hangingPunct="0">
              <a:spcBef>
                <a:spcPct val="50000"/>
              </a:spcBef>
              <a:spcAft>
                <a:spcPct val="0"/>
              </a:spcAft>
              <a:buClr>
                <a:srgbClr val="00279F"/>
              </a:buClr>
              <a:buSzPct val="85000"/>
              <a:buFontTx/>
              <a:buNone/>
              <a:defRPr/>
            </a:pPr>
            <a:r>
              <a:rPr lang="tr-TR" sz="1800" b="1" i="0" strike="noStrike" cap="none" spc="0" baseline="0">
                <a:solidFill>
                  <a:srgbClr val="FFFFFF"/>
                </a:solidFill>
                <a:effectLst/>
                <a:latin typeface="Calibri"/>
                <a:ea typeface="Calibri"/>
                <a:cs typeface="Calibri"/>
              </a:rPr>
              <a:t>Konuma Dayalı Yaklaşım</a:t>
            </a:r>
            <a:endParaRPr kumimoji="0" lang="en-US" sz="800" b="1" i="0" u="none" strike="noStrike" kern="0" cap="none" normalizeH="0" baseline="0" noProof="0">
              <a:ln>
                <a:noFill/>
              </a:ln>
              <a:solidFill>
                <a:schemeClr val="bg1"/>
              </a:solidFill>
              <a:effectLst/>
              <a:uLnTx/>
              <a:uFillTx/>
              <a:ea typeface="+mn-ea"/>
              <a:cs typeface="+mn-cs"/>
            </a:endParaRPr>
          </a:p>
        </p:txBody>
      </p:sp>
      <p:sp>
        <p:nvSpPr>
          <p:cNvPr id="10" name="Rectangle 9">
            <a:extLst>
              <a:ext uri="{FF2B5EF4-FFF2-40B4-BE49-F238E27FC236}">
                <a16:creationId xmlns:a16="http://schemas.microsoft.com/office/drawing/2014/main" id="{7C953660-2763-EDB1-85B4-2E352214AC91}"/>
              </a:ext>
            </a:extLst>
          </p:cNvPr>
          <p:cNvSpPr/>
          <p:nvPr/>
        </p:nvSpPr>
        <p:spPr>
          <a:xfrm>
            <a:off x="6733534" y="1702340"/>
            <a:ext cx="4845689" cy="623150"/>
          </a:xfrm>
          <a:prstGeom prst="rect">
            <a:avLst/>
          </a:prstGeom>
          <a:solidFill>
            <a:schemeClr val="accent2"/>
          </a:solidFill>
          <a:ln w="6350">
            <a:solidFill>
              <a:schemeClr val="accent2"/>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algn="ctr"/>
            <a:r>
              <a:rPr lang="tr-TR" sz="1800" b="1" i="0" strike="noStrike" cap="none" spc="0" baseline="0">
                <a:solidFill>
                  <a:srgbClr val="FFFFFF"/>
                </a:solidFill>
                <a:effectLst/>
                <a:latin typeface="Calibri"/>
                <a:ea typeface="Calibri"/>
                <a:cs typeface="Calibri"/>
              </a:rPr>
              <a:t>Pazara Dayalı Yaklaşım</a:t>
            </a:r>
          </a:p>
        </p:txBody>
      </p:sp>
      <p:grpSp>
        <p:nvGrpSpPr>
          <p:cNvPr id="17" name="Group 16">
            <a:extLst>
              <a:ext uri="{FF2B5EF4-FFF2-40B4-BE49-F238E27FC236}">
                <a16:creationId xmlns:a16="http://schemas.microsoft.com/office/drawing/2014/main" id="{6D63E8EE-EEC2-1071-91E3-79C6E823E4A4}"/>
              </a:ext>
            </a:extLst>
          </p:cNvPr>
          <p:cNvGrpSpPr/>
          <p:nvPr/>
        </p:nvGrpSpPr>
        <p:grpSpPr>
          <a:xfrm>
            <a:off x="3784018" y="1124214"/>
            <a:ext cx="763802" cy="763802"/>
            <a:chOff x="1181289" y="2865536"/>
            <a:chExt cx="1024128" cy="1023806"/>
          </a:xfrm>
          <a:effectLst>
            <a:outerShdw blurRad="50800" dist="38100" dir="5400000" algn="t" rotWithShape="0">
              <a:prstClr val="black">
                <a:alpha val="11000"/>
              </a:prstClr>
            </a:outerShdw>
          </a:effectLst>
        </p:grpSpPr>
        <p:pic>
          <p:nvPicPr>
            <p:cNvPr id="21" name="Picture 20" descr="A picture containing shape&#10;&#10;Description automatically generated">
              <a:extLst>
                <a:ext uri="{FF2B5EF4-FFF2-40B4-BE49-F238E27FC236}">
                  <a16:creationId xmlns:a16="http://schemas.microsoft.com/office/drawing/2014/main" id="{C99ABB8D-7A91-8097-7FBD-38205A04571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2" name="Oval 21">
              <a:extLst>
                <a:ext uri="{FF2B5EF4-FFF2-40B4-BE49-F238E27FC236}">
                  <a16:creationId xmlns:a16="http://schemas.microsoft.com/office/drawing/2014/main" id="{12784F86-4C3B-EF2D-9D57-6582239307AE}"/>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Graphic 25">
            <a:extLst>
              <a:ext uri="{FF2B5EF4-FFF2-40B4-BE49-F238E27FC236}">
                <a16:creationId xmlns:a16="http://schemas.microsoft.com/office/drawing/2014/main" id="{19120AA4-EF54-96ED-7073-4445B46EB38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60863" y="1326667"/>
            <a:ext cx="410112" cy="399027"/>
          </a:xfrm>
          <a:prstGeom prst="rect">
            <a:avLst/>
          </a:prstGeom>
        </p:spPr>
      </p:pic>
      <p:grpSp>
        <p:nvGrpSpPr>
          <p:cNvPr id="44" name="Group 43">
            <a:extLst>
              <a:ext uri="{FF2B5EF4-FFF2-40B4-BE49-F238E27FC236}">
                <a16:creationId xmlns:a16="http://schemas.microsoft.com/office/drawing/2014/main" id="{B21FCA52-F606-9984-01CB-546BDE6E1E7B}"/>
              </a:ext>
            </a:extLst>
          </p:cNvPr>
          <p:cNvGrpSpPr/>
          <p:nvPr/>
        </p:nvGrpSpPr>
        <p:grpSpPr>
          <a:xfrm>
            <a:off x="8774477" y="1124214"/>
            <a:ext cx="763802" cy="763802"/>
            <a:chOff x="8774479" y="1124214"/>
            <a:chExt cx="763802" cy="763802"/>
          </a:xfrm>
          <a:effectLst>
            <a:outerShdw blurRad="50800" dist="38100" dir="5400000" algn="t" rotWithShape="0">
              <a:prstClr val="black">
                <a:alpha val="11000"/>
              </a:prstClr>
            </a:outerShdw>
          </a:effectLst>
        </p:grpSpPr>
        <p:grpSp>
          <p:nvGrpSpPr>
            <p:cNvPr id="23" name="Group 22">
              <a:extLst>
                <a:ext uri="{FF2B5EF4-FFF2-40B4-BE49-F238E27FC236}">
                  <a16:creationId xmlns:a16="http://schemas.microsoft.com/office/drawing/2014/main" id="{FA95E778-426C-7537-341C-37347F912D10}"/>
                </a:ext>
              </a:extLst>
            </p:cNvPr>
            <p:cNvGrpSpPr/>
            <p:nvPr/>
          </p:nvGrpSpPr>
          <p:grpSpPr>
            <a:xfrm>
              <a:off x="8774479" y="1124214"/>
              <a:ext cx="763802" cy="763802"/>
              <a:chOff x="1181289" y="2865536"/>
              <a:chExt cx="1024128" cy="1023806"/>
            </a:xfrm>
          </p:grpSpPr>
          <p:pic>
            <p:nvPicPr>
              <p:cNvPr id="24" name="Picture 23" descr="A picture containing shape&#10;&#10;Description automatically generated">
                <a:extLst>
                  <a:ext uri="{FF2B5EF4-FFF2-40B4-BE49-F238E27FC236}">
                    <a16:creationId xmlns:a16="http://schemas.microsoft.com/office/drawing/2014/main" id="{97D846C2-6564-7C54-4694-573D414E637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5" name="Oval 24">
                <a:extLst>
                  <a:ext uri="{FF2B5EF4-FFF2-40B4-BE49-F238E27FC236}">
                    <a16:creationId xmlns:a16="http://schemas.microsoft.com/office/drawing/2014/main" id="{CB193AD0-51CA-28EE-32ED-3F504238CEEA}"/>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Freeform 62">
              <a:extLst>
                <a:ext uri="{FF2B5EF4-FFF2-40B4-BE49-F238E27FC236}">
                  <a16:creationId xmlns:a16="http://schemas.microsoft.com/office/drawing/2014/main" id="{2684D271-8FAB-479A-F6B3-2CD31090C5AF}"/>
                </a:ext>
              </a:extLst>
            </p:cNvPr>
            <p:cNvSpPr>
              <a:spLocks noEditPoints="1"/>
            </p:cNvSpPr>
            <p:nvPr/>
          </p:nvSpPr>
          <p:spPr bwMode="auto">
            <a:xfrm>
              <a:off x="8933213" y="1349635"/>
              <a:ext cx="446335" cy="353089"/>
            </a:xfrm>
            <a:custGeom>
              <a:avLst/>
              <a:gdLst>
                <a:gd name="T0" fmla="*/ 44 w 180"/>
                <a:gd name="T1" fmla="*/ 58 h 142"/>
                <a:gd name="T2" fmla="*/ 64 w 180"/>
                <a:gd name="T3" fmla="*/ 84 h 142"/>
                <a:gd name="T4" fmla="*/ 38 w 180"/>
                <a:gd name="T5" fmla="*/ 64 h 142"/>
                <a:gd name="T6" fmla="*/ 38 w 180"/>
                <a:gd name="T7" fmla="*/ 110 h 142"/>
                <a:gd name="T8" fmla="*/ 38 w 180"/>
                <a:gd name="T9" fmla="*/ 87 h 142"/>
                <a:gd name="T10" fmla="*/ 67 w 180"/>
                <a:gd name="T11" fmla="*/ 45 h 142"/>
                <a:gd name="T12" fmla="*/ 19 w 180"/>
                <a:gd name="T13" fmla="*/ 29 h 142"/>
                <a:gd name="T14" fmla="*/ 70 w 180"/>
                <a:gd name="T15" fmla="*/ 35 h 142"/>
                <a:gd name="T16" fmla="*/ 69 w 180"/>
                <a:gd name="T17" fmla="*/ 45 h 142"/>
                <a:gd name="T18" fmla="*/ 167 w 180"/>
                <a:gd name="T19" fmla="*/ 88 h 142"/>
                <a:gd name="T20" fmla="*/ 163 w 180"/>
                <a:gd name="T21" fmla="*/ 87 h 142"/>
                <a:gd name="T22" fmla="*/ 144 w 180"/>
                <a:gd name="T23" fmla="*/ 96 h 142"/>
                <a:gd name="T24" fmla="*/ 123 w 180"/>
                <a:gd name="T25" fmla="*/ 90 h 142"/>
                <a:gd name="T26" fmla="*/ 100 w 180"/>
                <a:gd name="T27" fmla="*/ 125 h 142"/>
                <a:gd name="T28" fmla="*/ 96 w 180"/>
                <a:gd name="T29" fmla="*/ 118 h 142"/>
                <a:gd name="T30" fmla="*/ 123 w 180"/>
                <a:gd name="T31" fmla="*/ 79 h 142"/>
                <a:gd name="T32" fmla="*/ 151 w 180"/>
                <a:gd name="T33" fmla="*/ 75 h 142"/>
                <a:gd name="T34" fmla="*/ 145 w 180"/>
                <a:gd name="T35" fmla="*/ 65 h 142"/>
                <a:gd name="T36" fmla="*/ 148 w 180"/>
                <a:gd name="T37" fmla="*/ 63 h 142"/>
                <a:gd name="T38" fmla="*/ 170 w 180"/>
                <a:gd name="T39" fmla="*/ 67 h 142"/>
                <a:gd name="T40" fmla="*/ 99 w 180"/>
                <a:gd name="T41" fmla="*/ 46 h 142"/>
                <a:gd name="T42" fmla="*/ 137 w 180"/>
                <a:gd name="T43" fmla="*/ 42 h 142"/>
                <a:gd name="T44" fmla="*/ 102 w 180"/>
                <a:gd name="T45" fmla="*/ 55 h 142"/>
                <a:gd name="T46" fmla="*/ 96 w 180"/>
                <a:gd name="T47" fmla="*/ 52 h 142"/>
                <a:gd name="T48" fmla="*/ 99 w 180"/>
                <a:gd name="T49" fmla="*/ 28 h 142"/>
                <a:gd name="T50" fmla="*/ 169 w 180"/>
                <a:gd name="T51" fmla="*/ 17 h 142"/>
                <a:gd name="T52" fmla="*/ 102 w 180"/>
                <a:gd name="T53" fmla="*/ 38 h 142"/>
                <a:gd name="T54" fmla="*/ 96 w 180"/>
                <a:gd name="T55" fmla="*/ 34 h 142"/>
                <a:gd name="T56" fmla="*/ 85 w 180"/>
                <a:gd name="T57" fmla="*/ 130 h 142"/>
                <a:gd name="T58" fmla="*/ 10 w 180"/>
                <a:gd name="T59" fmla="*/ 12 h 142"/>
                <a:gd name="T60" fmla="*/ 85 w 180"/>
                <a:gd name="T61" fmla="*/ 130 h 142"/>
                <a:gd name="T62" fmla="*/ 174 w 180"/>
                <a:gd name="T63" fmla="*/ 1 h 142"/>
                <a:gd name="T64" fmla="*/ 6 w 180"/>
                <a:gd name="T65" fmla="*/ 1 h 142"/>
                <a:gd name="T66" fmla="*/ 0 w 180"/>
                <a:gd name="T67" fmla="*/ 5 h 142"/>
                <a:gd name="T68" fmla="*/ 4 w 180"/>
                <a:gd name="T69" fmla="*/ 122 h 142"/>
                <a:gd name="T70" fmla="*/ 90 w 180"/>
                <a:gd name="T71" fmla="*/ 142 h 142"/>
                <a:gd name="T72" fmla="*/ 176 w 180"/>
                <a:gd name="T73" fmla="*/ 122 h 142"/>
                <a:gd name="T74" fmla="*/ 180 w 180"/>
                <a:gd name="T75"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42">
                  <a:moveTo>
                    <a:pt x="64" y="84"/>
                  </a:moveTo>
                  <a:cubicBezTo>
                    <a:pt x="64" y="71"/>
                    <a:pt x="55" y="60"/>
                    <a:pt x="44" y="58"/>
                  </a:cubicBezTo>
                  <a:cubicBezTo>
                    <a:pt x="44" y="81"/>
                    <a:pt x="44" y="81"/>
                    <a:pt x="44" y="81"/>
                  </a:cubicBezTo>
                  <a:lnTo>
                    <a:pt x="64" y="84"/>
                  </a:lnTo>
                  <a:close/>
                  <a:moveTo>
                    <a:pt x="38" y="87"/>
                  </a:moveTo>
                  <a:cubicBezTo>
                    <a:pt x="38" y="64"/>
                    <a:pt x="38" y="64"/>
                    <a:pt x="38" y="64"/>
                  </a:cubicBezTo>
                  <a:cubicBezTo>
                    <a:pt x="28" y="63"/>
                    <a:pt x="19" y="72"/>
                    <a:pt x="19" y="85"/>
                  </a:cubicBezTo>
                  <a:cubicBezTo>
                    <a:pt x="19" y="98"/>
                    <a:pt x="28" y="109"/>
                    <a:pt x="38" y="110"/>
                  </a:cubicBezTo>
                  <a:cubicBezTo>
                    <a:pt x="49" y="111"/>
                    <a:pt x="58" y="102"/>
                    <a:pt x="58" y="89"/>
                  </a:cubicBezTo>
                  <a:lnTo>
                    <a:pt x="38" y="87"/>
                  </a:lnTo>
                  <a:close/>
                  <a:moveTo>
                    <a:pt x="69" y="45"/>
                  </a:moveTo>
                  <a:cubicBezTo>
                    <a:pt x="68" y="45"/>
                    <a:pt x="68" y="45"/>
                    <a:pt x="67" y="45"/>
                  </a:cubicBezTo>
                  <a:cubicBezTo>
                    <a:pt x="22" y="35"/>
                    <a:pt x="22" y="35"/>
                    <a:pt x="22" y="35"/>
                  </a:cubicBezTo>
                  <a:cubicBezTo>
                    <a:pt x="20" y="34"/>
                    <a:pt x="18" y="31"/>
                    <a:pt x="19" y="29"/>
                  </a:cubicBezTo>
                  <a:cubicBezTo>
                    <a:pt x="19" y="26"/>
                    <a:pt x="22" y="24"/>
                    <a:pt x="25" y="25"/>
                  </a:cubicBezTo>
                  <a:cubicBezTo>
                    <a:pt x="70" y="35"/>
                    <a:pt x="70" y="35"/>
                    <a:pt x="70" y="35"/>
                  </a:cubicBezTo>
                  <a:cubicBezTo>
                    <a:pt x="72" y="36"/>
                    <a:pt x="74" y="39"/>
                    <a:pt x="73" y="41"/>
                  </a:cubicBezTo>
                  <a:cubicBezTo>
                    <a:pt x="73" y="44"/>
                    <a:pt x="71" y="45"/>
                    <a:pt x="69" y="45"/>
                  </a:cubicBezTo>
                  <a:moveTo>
                    <a:pt x="170" y="85"/>
                  </a:moveTo>
                  <a:cubicBezTo>
                    <a:pt x="170" y="86"/>
                    <a:pt x="169" y="88"/>
                    <a:pt x="167" y="88"/>
                  </a:cubicBezTo>
                  <a:cubicBezTo>
                    <a:pt x="167" y="88"/>
                    <a:pt x="166" y="89"/>
                    <a:pt x="166" y="89"/>
                  </a:cubicBezTo>
                  <a:cubicBezTo>
                    <a:pt x="165" y="89"/>
                    <a:pt x="164" y="88"/>
                    <a:pt x="163" y="87"/>
                  </a:cubicBezTo>
                  <a:cubicBezTo>
                    <a:pt x="158" y="82"/>
                    <a:pt x="158" y="82"/>
                    <a:pt x="158" y="82"/>
                  </a:cubicBezTo>
                  <a:cubicBezTo>
                    <a:pt x="144" y="96"/>
                    <a:pt x="144" y="96"/>
                    <a:pt x="144" y="96"/>
                  </a:cubicBezTo>
                  <a:cubicBezTo>
                    <a:pt x="143" y="98"/>
                    <a:pt x="140" y="98"/>
                    <a:pt x="138" y="97"/>
                  </a:cubicBezTo>
                  <a:cubicBezTo>
                    <a:pt x="123" y="90"/>
                    <a:pt x="123" y="90"/>
                    <a:pt x="123" y="90"/>
                  </a:cubicBezTo>
                  <a:cubicBezTo>
                    <a:pt x="105" y="122"/>
                    <a:pt x="105" y="122"/>
                    <a:pt x="105" y="122"/>
                  </a:cubicBezTo>
                  <a:cubicBezTo>
                    <a:pt x="104" y="124"/>
                    <a:pt x="102" y="125"/>
                    <a:pt x="100" y="125"/>
                  </a:cubicBezTo>
                  <a:cubicBezTo>
                    <a:pt x="99" y="125"/>
                    <a:pt x="99" y="125"/>
                    <a:pt x="98" y="124"/>
                  </a:cubicBezTo>
                  <a:cubicBezTo>
                    <a:pt x="95" y="123"/>
                    <a:pt x="95" y="120"/>
                    <a:pt x="96" y="118"/>
                  </a:cubicBezTo>
                  <a:cubicBezTo>
                    <a:pt x="116" y="81"/>
                    <a:pt x="116" y="81"/>
                    <a:pt x="116" y="81"/>
                  </a:cubicBezTo>
                  <a:cubicBezTo>
                    <a:pt x="117" y="78"/>
                    <a:pt x="120" y="77"/>
                    <a:pt x="123" y="79"/>
                  </a:cubicBezTo>
                  <a:cubicBezTo>
                    <a:pt x="139" y="86"/>
                    <a:pt x="139" y="86"/>
                    <a:pt x="139" y="86"/>
                  </a:cubicBezTo>
                  <a:cubicBezTo>
                    <a:pt x="151" y="75"/>
                    <a:pt x="151" y="75"/>
                    <a:pt x="151" y="75"/>
                  </a:cubicBezTo>
                  <a:cubicBezTo>
                    <a:pt x="146" y="70"/>
                    <a:pt x="146" y="70"/>
                    <a:pt x="146" y="70"/>
                  </a:cubicBezTo>
                  <a:cubicBezTo>
                    <a:pt x="144" y="69"/>
                    <a:pt x="144" y="67"/>
                    <a:pt x="145" y="65"/>
                  </a:cubicBezTo>
                  <a:cubicBezTo>
                    <a:pt x="145" y="64"/>
                    <a:pt x="147" y="63"/>
                    <a:pt x="148" y="63"/>
                  </a:cubicBezTo>
                  <a:cubicBezTo>
                    <a:pt x="148" y="63"/>
                    <a:pt x="148" y="63"/>
                    <a:pt x="148" y="63"/>
                  </a:cubicBezTo>
                  <a:cubicBezTo>
                    <a:pt x="166" y="63"/>
                    <a:pt x="166" y="63"/>
                    <a:pt x="166" y="63"/>
                  </a:cubicBezTo>
                  <a:cubicBezTo>
                    <a:pt x="168" y="63"/>
                    <a:pt x="170" y="65"/>
                    <a:pt x="170" y="67"/>
                  </a:cubicBezTo>
                  <a:lnTo>
                    <a:pt x="170" y="85"/>
                  </a:lnTo>
                  <a:close/>
                  <a:moveTo>
                    <a:pt x="99" y="46"/>
                  </a:moveTo>
                  <a:cubicBezTo>
                    <a:pt x="131" y="38"/>
                    <a:pt x="131" y="38"/>
                    <a:pt x="131" y="38"/>
                  </a:cubicBezTo>
                  <a:cubicBezTo>
                    <a:pt x="134" y="38"/>
                    <a:pt x="137" y="39"/>
                    <a:pt x="137" y="42"/>
                  </a:cubicBezTo>
                  <a:cubicBezTo>
                    <a:pt x="138" y="45"/>
                    <a:pt x="136" y="47"/>
                    <a:pt x="133" y="48"/>
                  </a:cubicBezTo>
                  <a:cubicBezTo>
                    <a:pt x="102" y="55"/>
                    <a:pt x="102" y="55"/>
                    <a:pt x="102" y="55"/>
                  </a:cubicBezTo>
                  <a:cubicBezTo>
                    <a:pt x="101" y="55"/>
                    <a:pt x="101" y="55"/>
                    <a:pt x="101" y="55"/>
                  </a:cubicBezTo>
                  <a:cubicBezTo>
                    <a:pt x="98" y="55"/>
                    <a:pt x="96" y="54"/>
                    <a:pt x="96" y="52"/>
                  </a:cubicBezTo>
                  <a:cubicBezTo>
                    <a:pt x="95" y="49"/>
                    <a:pt x="97" y="46"/>
                    <a:pt x="99" y="46"/>
                  </a:cubicBezTo>
                  <a:moveTo>
                    <a:pt x="99" y="28"/>
                  </a:moveTo>
                  <a:cubicBezTo>
                    <a:pt x="163" y="13"/>
                    <a:pt x="163" y="13"/>
                    <a:pt x="163" y="13"/>
                  </a:cubicBezTo>
                  <a:cubicBezTo>
                    <a:pt x="165" y="13"/>
                    <a:pt x="168" y="14"/>
                    <a:pt x="169" y="17"/>
                  </a:cubicBezTo>
                  <a:cubicBezTo>
                    <a:pt x="169" y="20"/>
                    <a:pt x="168" y="22"/>
                    <a:pt x="165" y="23"/>
                  </a:cubicBezTo>
                  <a:cubicBezTo>
                    <a:pt x="102" y="38"/>
                    <a:pt x="102" y="38"/>
                    <a:pt x="102" y="38"/>
                  </a:cubicBezTo>
                  <a:cubicBezTo>
                    <a:pt x="101" y="38"/>
                    <a:pt x="101" y="38"/>
                    <a:pt x="101" y="38"/>
                  </a:cubicBezTo>
                  <a:cubicBezTo>
                    <a:pt x="98" y="38"/>
                    <a:pt x="96" y="36"/>
                    <a:pt x="96" y="34"/>
                  </a:cubicBezTo>
                  <a:cubicBezTo>
                    <a:pt x="95" y="31"/>
                    <a:pt x="97" y="28"/>
                    <a:pt x="99" y="28"/>
                  </a:cubicBezTo>
                  <a:moveTo>
                    <a:pt x="85" y="130"/>
                  </a:moveTo>
                  <a:cubicBezTo>
                    <a:pt x="10" y="113"/>
                    <a:pt x="10" y="113"/>
                    <a:pt x="10" y="113"/>
                  </a:cubicBezTo>
                  <a:cubicBezTo>
                    <a:pt x="10" y="12"/>
                    <a:pt x="10" y="12"/>
                    <a:pt x="10" y="12"/>
                  </a:cubicBezTo>
                  <a:cubicBezTo>
                    <a:pt x="85" y="29"/>
                    <a:pt x="85" y="29"/>
                    <a:pt x="85" y="29"/>
                  </a:cubicBezTo>
                  <a:lnTo>
                    <a:pt x="85" y="130"/>
                  </a:lnTo>
                  <a:close/>
                  <a:moveTo>
                    <a:pt x="178" y="2"/>
                  </a:moveTo>
                  <a:cubicBezTo>
                    <a:pt x="177" y="1"/>
                    <a:pt x="175" y="0"/>
                    <a:pt x="174" y="1"/>
                  </a:cubicBezTo>
                  <a:cubicBezTo>
                    <a:pt x="90" y="20"/>
                    <a:pt x="90" y="20"/>
                    <a:pt x="90" y="20"/>
                  </a:cubicBezTo>
                  <a:cubicBezTo>
                    <a:pt x="6" y="1"/>
                    <a:pt x="6" y="1"/>
                    <a:pt x="6" y="1"/>
                  </a:cubicBezTo>
                  <a:cubicBezTo>
                    <a:pt x="4" y="0"/>
                    <a:pt x="3" y="1"/>
                    <a:pt x="2" y="2"/>
                  </a:cubicBezTo>
                  <a:cubicBezTo>
                    <a:pt x="0" y="3"/>
                    <a:pt x="0" y="4"/>
                    <a:pt x="0" y="5"/>
                  </a:cubicBezTo>
                  <a:cubicBezTo>
                    <a:pt x="0" y="117"/>
                    <a:pt x="0" y="117"/>
                    <a:pt x="0" y="117"/>
                  </a:cubicBezTo>
                  <a:cubicBezTo>
                    <a:pt x="0" y="119"/>
                    <a:pt x="1" y="121"/>
                    <a:pt x="4" y="122"/>
                  </a:cubicBezTo>
                  <a:cubicBezTo>
                    <a:pt x="89" y="141"/>
                    <a:pt x="89" y="141"/>
                    <a:pt x="89" y="141"/>
                  </a:cubicBezTo>
                  <a:cubicBezTo>
                    <a:pt x="89" y="141"/>
                    <a:pt x="89" y="142"/>
                    <a:pt x="90" y="142"/>
                  </a:cubicBezTo>
                  <a:cubicBezTo>
                    <a:pt x="90" y="142"/>
                    <a:pt x="91" y="141"/>
                    <a:pt x="91" y="141"/>
                  </a:cubicBezTo>
                  <a:cubicBezTo>
                    <a:pt x="176" y="122"/>
                    <a:pt x="176" y="122"/>
                    <a:pt x="176" y="122"/>
                  </a:cubicBezTo>
                  <a:cubicBezTo>
                    <a:pt x="178" y="121"/>
                    <a:pt x="180" y="119"/>
                    <a:pt x="180" y="117"/>
                  </a:cubicBezTo>
                  <a:cubicBezTo>
                    <a:pt x="180" y="5"/>
                    <a:pt x="180" y="5"/>
                    <a:pt x="180" y="5"/>
                  </a:cubicBezTo>
                  <a:cubicBezTo>
                    <a:pt x="180" y="4"/>
                    <a:pt x="179" y="3"/>
                    <a:pt x="178" y="2"/>
                  </a:cubicBezTo>
                </a:path>
              </a:pathLst>
            </a:custGeom>
            <a:solidFill>
              <a:schemeClr val="accent5"/>
            </a:solidFill>
            <a:ln w="9525">
              <a:noFill/>
              <a:round/>
            </a:ln>
          </p:spPr>
          <p:txBody>
            <a:bodyPr vert="horz" wrap="square" lIns="85725" tIns="42863" rIns="85725" bIns="42863" numCol="1" anchor="t" anchorCtr="0" compatLnSpc="1">
              <a:prstTxWarp prst="textNoShape">
                <a:avLst/>
              </a:prstTxWarp>
            </a:bodyPr>
            <a:lstStyle/>
            <a:p>
              <a:pPr marL="0" marR="0" lvl="0" indent="0" algn="l" defTabSz="914400" rtl="0" eaLnBrk="1" fontAlgn="auto" latinLnBrk="0" hangingPunct="1">
                <a:spcBef>
                  <a:spcPct val="0"/>
                </a:spcBef>
                <a:spcAft>
                  <a:spcPct val="0"/>
                </a:spcAft>
                <a:buClrTx/>
                <a:buSzTx/>
                <a:buFontTx/>
                <a:buNone/>
                <a:defRPr/>
              </a:pPr>
              <a:endParaRPr kumimoji="0" lang="en-US" sz="749" b="0" i="0" u="none" strike="noStrike" kern="1200" cap="none" normalizeH="0" baseline="0" noProof="0">
                <a:ln w="0"/>
                <a:solidFill>
                  <a:srgbClr val="000000"/>
                </a:solidFill>
                <a:effectLst>
                  <a:outerShdw blurRad="38100" dist="19050" dir="2700000" algn="tl" rotWithShape="0">
                    <a:srgbClr val="000000">
                      <a:alpha val="40000"/>
                    </a:srgbClr>
                  </a:outerShdw>
                </a:effectLst>
                <a:uLnTx/>
                <a:uFillTx/>
                <a:ea typeface="+mn-ea"/>
                <a:cs typeface="+mn-cs"/>
              </a:endParaRPr>
            </a:p>
          </p:txBody>
        </p:sp>
      </p:grpSp>
      <p:sp>
        <p:nvSpPr>
          <p:cNvPr id="28" name="TextBox 27">
            <a:extLst>
              <a:ext uri="{FF2B5EF4-FFF2-40B4-BE49-F238E27FC236}">
                <a16:creationId xmlns:a16="http://schemas.microsoft.com/office/drawing/2014/main" id="{5B82A4B4-AF46-A447-8A19-F948EB35F915}"/>
              </a:ext>
            </a:extLst>
          </p:cNvPr>
          <p:cNvSpPr txBox="1"/>
          <p:nvPr/>
        </p:nvSpPr>
        <p:spPr>
          <a:xfrm>
            <a:off x="608806" y="6099917"/>
            <a:ext cx="10952146" cy="457200"/>
          </a:xfrm>
          <a:prstGeom prst="rect">
            <a:avLst/>
          </a:prstGeom>
          <a:noFill/>
        </p:spPr>
        <p:txBody>
          <a:bodyPr wrap="square" lIns="0" tIns="0" rIns="0" bIns="0" rtlCol="0" anchor="b">
            <a:spAutoFit/>
          </a:bodyPr>
          <a:lstStyle/>
          <a:p>
            <a:pPr marL="0" indent="0">
              <a:buNone/>
            </a:pPr>
            <a:r>
              <a:rPr lang="tr-TR" sz="1000" b="0" i="0" strike="noStrike" cap="none" spc="0" baseline="0">
                <a:solidFill>
                  <a:srgbClr val="000000"/>
                </a:solidFill>
                <a:effectLst/>
                <a:latin typeface="Calibri"/>
                <a:ea typeface="Calibri"/>
                <a:cs typeface="Calibri"/>
              </a:rPr>
              <a:t>*Yenilenebilir Elektrikle ilgili olarak inandırıcı emisyon azaltma iddiasında bulunmak için bkz. “Yenilenebilir Elektrikle ilgili PEP'in Değer Zinciri Ortaklarına Rehberlik” (Şubat 2023'te e-posta ile verilmiştir; bulamazsanız Erik Hut </a:t>
            </a:r>
            <a:r>
              <a:rPr lang="tr-TR" sz="1000" b="0" i="0" strike="noStrike" cap="none" spc="0" baseline="0">
                <a:solidFill>
                  <a:srgbClr val="000000"/>
                </a:solidFill>
                <a:effectLst/>
                <a:latin typeface="Calibri"/>
                <a:ea typeface="Calibri"/>
                <a:cs typeface="Calibri"/>
                <a:hlinkClick r:id="rId9" history="0"/>
              </a:rPr>
              <a:t>erik.hut@pepsico.com</a:t>
            </a:r>
            <a:r>
              <a:rPr lang="tr-TR" sz="1000" b="0" i="0" strike="noStrike" cap="none" spc="0" baseline="0">
                <a:solidFill>
                  <a:srgbClr val="000000"/>
                </a:solidFill>
                <a:effectLst/>
                <a:latin typeface="Calibri"/>
                <a:ea typeface="Calibri"/>
                <a:cs typeface="Calibri"/>
              </a:rPr>
              <a:t> adresine e-posta gönderin). Bkz</a:t>
            </a:r>
            <a:r>
              <a:rPr lang="tr-TR" sz="1000" b="0" i="0" strike="noStrike" cap="none" spc="0" baseline="0">
                <a:solidFill>
                  <a:srgbClr val="0065E5"/>
                </a:solidFill>
                <a:effectLst/>
                <a:latin typeface="Calibri"/>
                <a:ea typeface="Calibri"/>
                <a:cs typeface="Calibri"/>
              </a:rPr>
              <a:t>. </a:t>
            </a:r>
            <a:r>
              <a:rPr lang="tr-TR" sz="1000" b="0" i="0" strike="noStrike" cap="none" spc="0" baseline="0">
                <a:solidFill>
                  <a:srgbClr val="0065E5"/>
                </a:solidFill>
                <a:effectLst/>
                <a:latin typeface="Calibri"/>
                <a:ea typeface="Calibri"/>
                <a:cs typeface="Calibri"/>
                <a:hlinkClick r:id="rId10" history="0"/>
              </a:rPr>
              <a:t>Sera Gazı Protokolü Kapsam 2 Kılavuzu</a:t>
            </a:r>
            <a:r>
              <a:rPr lang="tr-TR" sz="1000" b="0" i="0" strike="noStrike" cap="none" spc="0" baseline="0">
                <a:solidFill>
                  <a:srgbClr val="0065E5"/>
                </a:solidFill>
                <a:effectLst/>
                <a:latin typeface="Calibri"/>
                <a:ea typeface="Calibri"/>
                <a:cs typeface="Calibri"/>
              </a:rPr>
              <a:t> </a:t>
            </a:r>
            <a:r>
              <a:rPr lang="tr-TR" sz="1000" b="0" i="0" strike="noStrike" cap="none" spc="0" baseline="0">
                <a:solidFill>
                  <a:srgbClr val="000000"/>
                </a:solidFill>
                <a:effectLst/>
                <a:latin typeface="Calibri"/>
                <a:ea typeface="Calibri"/>
                <a:cs typeface="Calibri"/>
              </a:rPr>
              <a:t>ve </a:t>
            </a:r>
            <a:r>
              <a:rPr lang="tr-TR" sz="1000" b="0" i="0" strike="noStrike" cap="none" spc="0" baseline="0">
                <a:solidFill>
                  <a:srgbClr val="0065E5"/>
                </a:solidFill>
                <a:effectLst/>
                <a:latin typeface="Calibri"/>
                <a:ea typeface="Calibri"/>
                <a:cs typeface="Calibri"/>
                <a:hlinkClick r:id="rId11" history="0"/>
              </a:rPr>
              <a:t>CDP Teknik Notu: Piyasaya dayalı Kapsam 2 muhasebesi</a:t>
            </a:r>
            <a:r>
              <a:rPr lang="tr-TR" sz="1000" b="0" i="0" strike="noStrike" cap="none" spc="0" baseline="0">
                <a:solidFill>
                  <a:srgbClr val="0065E5"/>
                </a:solidFill>
                <a:effectLst/>
                <a:latin typeface="Calibri"/>
                <a:ea typeface="Calibri"/>
                <a:cs typeface="Calibri"/>
              </a:rPr>
              <a:t> </a:t>
            </a:r>
            <a:r>
              <a:rPr lang="tr-TR" sz="1000" b="0" i="0" strike="noStrike" cap="none" spc="0" baseline="0">
                <a:solidFill>
                  <a:srgbClr val="000000"/>
                </a:solidFill>
                <a:effectLst/>
                <a:latin typeface="Calibri"/>
                <a:ea typeface="Calibri"/>
                <a:cs typeface="Calibri"/>
              </a:rPr>
              <a:t>hakkında daha fazla rehberlik için Kapsam 2 Emisyonlarının Muhasebesi.</a:t>
            </a:r>
          </a:p>
        </p:txBody>
      </p:sp>
      <p:sp>
        <p:nvSpPr>
          <p:cNvPr id="5" name="Rectangle 4">
            <a:extLst>
              <a:ext uri="{FF2B5EF4-FFF2-40B4-BE49-F238E27FC236}">
                <a16:creationId xmlns:a16="http://schemas.microsoft.com/office/drawing/2014/main" id="{1B3D5D40-5643-70D2-B2E4-9E8D8187C75C}"/>
              </a:ext>
            </a:extLst>
          </p:cNvPr>
          <p:cNvSpPr/>
          <p:nvPr/>
        </p:nvSpPr>
        <p:spPr>
          <a:xfrm>
            <a:off x="1743075" y="2325491"/>
            <a:ext cx="4845689"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l" defTabSz="914400" rtl="0" eaLnBrk="1" fontAlgn="auto" latinLnBrk="0" hangingPunct="1">
              <a:spcBef>
                <a:spcPts val="300"/>
              </a:spcBef>
              <a:spcAft>
                <a:spcPts val="400"/>
              </a:spcAft>
              <a:buClrTx/>
              <a:buSzTx/>
              <a:buFont typeface="Arial" panose="020B0604020202020204" pitchFamily="34" charset="0"/>
              <a:buChar char="•"/>
              <a:defRPr/>
            </a:pPr>
            <a:r>
              <a:rPr lang="tr-TR" sz="1400" b="1" i="0" strike="noStrike" cap="none" spc="0" baseline="0">
                <a:solidFill>
                  <a:srgbClr val="000000"/>
                </a:solidFill>
                <a:effectLst/>
                <a:latin typeface="Calibri"/>
                <a:ea typeface="Calibri"/>
                <a:cs typeface="Calibri"/>
              </a:rPr>
              <a:t>Konuma dayalı</a:t>
            </a:r>
            <a:r>
              <a:rPr lang="tr-TR" sz="1400" b="0" i="0" strike="noStrike" cap="none" spc="0" baseline="0">
                <a:solidFill>
                  <a:srgbClr val="000000"/>
                </a:solidFill>
                <a:effectLst/>
                <a:latin typeface="Calibri"/>
                <a:ea typeface="Calibri"/>
                <a:cs typeface="Calibri"/>
              </a:rPr>
              <a:t> bir yöntem, enerji tüketiminin gerçekleştiği </a:t>
            </a:r>
            <a:r>
              <a:rPr lang="tr-TR" sz="1400" b="1" i="0" strike="noStrike" cap="none" spc="0" baseline="0">
                <a:solidFill>
                  <a:srgbClr val="000000"/>
                </a:solidFill>
                <a:effectLst/>
                <a:latin typeface="Calibri"/>
                <a:ea typeface="Calibri"/>
                <a:cs typeface="Calibri"/>
              </a:rPr>
              <a:t>şebekelerin ortalama emisyon yoğunluğunu</a:t>
            </a:r>
            <a:r>
              <a:rPr lang="tr-TR" sz="1400" b="0" i="0" strike="noStrike" cap="none" spc="0" baseline="0">
                <a:solidFill>
                  <a:srgbClr val="000000"/>
                </a:solidFill>
                <a:effectLst/>
                <a:latin typeface="Calibri"/>
                <a:ea typeface="Calibri"/>
                <a:cs typeface="Calibri"/>
              </a:rPr>
              <a:t> yansıtır.</a:t>
            </a:r>
          </a:p>
        </p:txBody>
      </p:sp>
      <p:sp>
        <p:nvSpPr>
          <p:cNvPr id="6" name="Rectangle 5">
            <a:extLst>
              <a:ext uri="{FF2B5EF4-FFF2-40B4-BE49-F238E27FC236}">
                <a16:creationId xmlns:a16="http://schemas.microsoft.com/office/drawing/2014/main" id="{A3EAA969-3069-8D72-8A94-254E424AA360}"/>
              </a:ext>
            </a:extLst>
          </p:cNvPr>
          <p:cNvSpPr/>
          <p:nvPr/>
        </p:nvSpPr>
        <p:spPr>
          <a:xfrm>
            <a:off x="6733536" y="2325491"/>
            <a:ext cx="4916140"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l" defTabSz="914400" rtl="0" eaLnBrk="1" fontAlgn="auto" latinLnBrk="0" hangingPunct="1">
              <a:spcBef>
                <a:spcPts val="300"/>
              </a:spcBef>
              <a:spcAft>
                <a:spcPts val="400"/>
              </a:spcAft>
              <a:buClrTx/>
              <a:buSzTx/>
              <a:buFont typeface="Arial" panose="020B0604020202020204" pitchFamily="34" charset="0"/>
              <a:buChar char="•"/>
              <a:defRPr/>
            </a:pPr>
            <a:r>
              <a:rPr lang="tr-TR" sz="1400" b="1" i="0" strike="noStrike" cap="none" spc="0" baseline="0" dirty="0">
                <a:solidFill>
                  <a:srgbClr val="000000"/>
                </a:solidFill>
                <a:effectLst/>
                <a:latin typeface="Calibri"/>
                <a:ea typeface="Calibri"/>
                <a:cs typeface="Calibri"/>
              </a:rPr>
              <a:t>Piyasaya dayalı bir yöntem, şirketlerin kasıtlı olarak seçtiği </a:t>
            </a:r>
            <a:r>
              <a:rPr lang="tr-TR" sz="1400" b="0" i="0" strike="noStrike" cap="none" spc="0" baseline="0" dirty="0">
                <a:solidFill>
                  <a:srgbClr val="000000"/>
                </a:solidFill>
                <a:effectLst/>
                <a:latin typeface="Calibri"/>
                <a:ea typeface="Calibri"/>
                <a:cs typeface="Calibri"/>
              </a:rPr>
              <a:t>(veya seçim yapmadıkları) elektrikten kaynaklanan emisyonları</a:t>
            </a:r>
            <a:br>
              <a:rPr sz="1400" dirty="0"/>
            </a:br>
            <a:r>
              <a:rPr lang="tr-TR" sz="1400" b="0" i="0" strike="noStrike" cap="none" spc="0" baseline="0" dirty="0">
                <a:solidFill>
                  <a:srgbClr val="000000"/>
                </a:solidFill>
                <a:effectLst/>
                <a:latin typeface="Calibri"/>
                <a:ea typeface="Calibri"/>
                <a:cs typeface="Calibri"/>
              </a:rPr>
              <a:t>yansıtır.</a:t>
            </a:r>
            <a:r>
              <a:rPr lang="tr-TR" sz="1400" b="0" i="0" strike="noStrike" cap="none" spc="0" baseline="0" dirty="0">
                <a:solidFill>
                  <a:srgbClr val="44546A"/>
                </a:solidFill>
                <a:effectLst/>
                <a:latin typeface="Calibri"/>
                <a:ea typeface="Calibri"/>
                <a:cs typeface="Calibri"/>
              </a:rPr>
              <a:t> </a:t>
            </a:r>
          </a:p>
        </p:txBody>
      </p:sp>
      <p:sp>
        <p:nvSpPr>
          <p:cNvPr id="32" name="Rectangle 31">
            <a:extLst>
              <a:ext uri="{FF2B5EF4-FFF2-40B4-BE49-F238E27FC236}">
                <a16:creationId xmlns:a16="http://schemas.microsoft.com/office/drawing/2014/main" id="{80E00738-5667-9D27-7E1E-47BA7AD8FD3C}"/>
              </a:ext>
            </a:extLst>
          </p:cNvPr>
          <p:cNvSpPr/>
          <p:nvPr/>
        </p:nvSpPr>
        <p:spPr>
          <a:xfrm>
            <a:off x="1743075" y="3130138"/>
            <a:ext cx="4845689" cy="3165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indent="-176213">
              <a:spcAft>
                <a:spcPts val="400"/>
              </a:spcAft>
              <a:buSzTx/>
              <a:buFont typeface="Arial"/>
              <a:buChar char="•"/>
              <a:defRPr/>
            </a:pPr>
            <a:r>
              <a:rPr lang="tr-TR" sz="1400" b="1" i="0" strike="noStrike" cap="none" spc="0" baseline="0">
                <a:solidFill>
                  <a:srgbClr val="000000"/>
                </a:solidFill>
                <a:effectLst/>
                <a:latin typeface="Calibri"/>
                <a:ea typeface="Calibri"/>
                <a:cs typeface="Calibri"/>
              </a:rPr>
              <a:t>Şebeke ortalama emisyon faktörleri </a:t>
            </a:r>
            <a:r>
              <a:rPr lang="tr-TR" sz="1400" b="0" i="0" strike="noStrike" cap="none" spc="0" baseline="0">
                <a:solidFill>
                  <a:srgbClr val="000000"/>
                </a:solidFill>
                <a:effectLst/>
                <a:latin typeface="Calibri"/>
                <a:ea typeface="Calibri"/>
                <a:cs typeface="Calibri"/>
              </a:rPr>
              <a:t>kullanılır </a:t>
            </a:r>
          </a:p>
          <a:p>
            <a:pPr marL="176213" indent="-176213">
              <a:spcAft>
                <a:spcPts val="400"/>
              </a:spcAft>
              <a:buSzTx/>
              <a:buFont typeface="Arial"/>
              <a:buChar char="•"/>
              <a:defRPr/>
            </a:pPr>
            <a:r>
              <a:rPr lang="tr-TR" sz="1400" b="1" i="0" strike="noStrike" cap="none" spc="0" baseline="0">
                <a:solidFill>
                  <a:srgbClr val="000000"/>
                </a:solidFill>
                <a:effectLst/>
                <a:latin typeface="Calibri"/>
                <a:ea typeface="Calibri"/>
                <a:cs typeface="Calibri"/>
              </a:rPr>
              <a:t>Tüm elektrik (yenilenebilir ve gri) aynı EF</a:t>
            </a:r>
            <a:br>
              <a:rPr sz="1400"/>
            </a:br>
            <a:r>
              <a:rPr lang="tr-TR" sz="1400" b="0" i="0" strike="noStrike" cap="none" spc="0" baseline="0">
                <a:solidFill>
                  <a:srgbClr val="000000"/>
                </a:solidFill>
                <a:effectLst/>
                <a:latin typeface="Calibri"/>
                <a:ea typeface="Calibri"/>
                <a:cs typeface="Calibri"/>
              </a:rPr>
              <a:t>'ye (şebeke karışımı) sahiptir.</a:t>
            </a:r>
          </a:p>
          <a:p>
            <a:pPr marL="633413" lvl="1" indent="-176213">
              <a:spcAft>
                <a:spcPts val="400"/>
              </a:spcAft>
              <a:buSzTx/>
              <a:buFont typeface="Arial"/>
              <a:buChar char="•"/>
              <a:defRPr/>
            </a:pPr>
            <a:r>
              <a:rPr lang="tr-TR" sz="1200" b="0" i="1" strike="noStrike" cap="none" spc="0" baseline="0">
                <a:solidFill>
                  <a:srgbClr val="000000"/>
                </a:solidFill>
                <a:effectLst/>
                <a:latin typeface="Calibri"/>
                <a:ea typeface="Calibri"/>
                <a:cs typeface="Calibri"/>
              </a:rPr>
              <a:t>Örneğin, fabrikanız Hindistan'da ise, RE satın alıp almadığınıza bakılmaksızın, kullanılan EF tüm Hindistan için ortalama şebeke EF'dir</a:t>
            </a:r>
            <a:endParaRPr lang="en-US" sz="1400" i="1">
              <a:solidFill>
                <a:schemeClr val="tx1"/>
              </a:solidFill>
            </a:endParaRPr>
          </a:p>
        </p:txBody>
      </p:sp>
      <p:sp>
        <p:nvSpPr>
          <p:cNvPr id="33" name="Rectangle 32">
            <a:extLst>
              <a:ext uri="{FF2B5EF4-FFF2-40B4-BE49-F238E27FC236}">
                <a16:creationId xmlns:a16="http://schemas.microsoft.com/office/drawing/2014/main" id="{B62FEA24-A403-72F3-94F6-53DE5E98B10D}"/>
              </a:ext>
            </a:extLst>
          </p:cNvPr>
          <p:cNvSpPr/>
          <p:nvPr/>
        </p:nvSpPr>
        <p:spPr>
          <a:xfrm>
            <a:off x="6733536" y="3161489"/>
            <a:ext cx="4845689" cy="22568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marR="0" lvl="0" indent="-176213" fontAlgn="auto">
              <a:spcBef>
                <a:spcPts val="100"/>
              </a:spcBef>
              <a:spcAft>
                <a:spcPts val="400"/>
              </a:spcAft>
              <a:buClrTx/>
              <a:buSzTx/>
              <a:buFont typeface="Arial"/>
              <a:buChar char="•"/>
              <a:defRPr/>
            </a:pPr>
            <a:r>
              <a:rPr lang="tr-TR" sz="1400" b="1" i="0" strike="noStrike" cap="none" spc="0" baseline="0" dirty="0">
                <a:solidFill>
                  <a:srgbClr val="000000"/>
                </a:solidFill>
                <a:effectLst/>
                <a:latin typeface="Calibri"/>
                <a:ea typeface="Calibri"/>
                <a:cs typeface="Calibri"/>
              </a:rPr>
              <a:t>Sözleşmeye özgü emisyon faktörleri </a:t>
            </a:r>
            <a:r>
              <a:rPr lang="tr-TR" sz="1400" b="0" i="0" strike="noStrike" cap="none" spc="0" baseline="0" dirty="0">
                <a:solidFill>
                  <a:srgbClr val="000000"/>
                </a:solidFill>
                <a:effectLst/>
                <a:latin typeface="Calibri"/>
                <a:ea typeface="Calibri"/>
                <a:cs typeface="Calibri"/>
              </a:rPr>
              <a:t>kullanılır. </a:t>
            </a:r>
          </a:p>
          <a:p>
            <a:pPr marL="176213" marR="0" lvl="0" indent="-176213" algn="l" defTabSz="914400" rtl="0" eaLnBrk="1" fontAlgn="auto" latinLnBrk="0" hangingPunct="1">
              <a:spcBef>
                <a:spcPts val="100"/>
              </a:spcBef>
              <a:spcAft>
                <a:spcPts val="400"/>
              </a:spcAft>
              <a:buClrTx/>
              <a:buSzTx/>
              <a:buFont typeface="Arial"/>
              <a:buChar char="•"/>
              <a:defRPr/>
            </a:pPr>
            <a:r>
              <a:rPr lang="tr-TR" sz="1400" b="1" i="0" strike="noStrike" cap="none" spc="0" baseline="0" dirty="0">
                <a:solidFill>
                  <a:srgbClr val="000000"/>
                </a:solidFill>
                <a:effectLst/>
                <a:latin typeface="Calibri"/>
                <a:ea typeface="Calibri"/>
                <a:cs typeface="Calibri"/>
              </a:rPr>
              <a:t>Yenilenebilir elektrik ürünlerinin EF değeri 0'dır. </a:t>
            </a:r>
          </a:p>
          <a:p>
            <a:pPr marL="633413" lvl="1" indent="-176213">
              <a:spcBef>
                <a:spcPts val="100"/>
              </a:spcBef>
              <a:spcAft>
                <a:spcPts val="400"/>
              </a:spcAft>
              <a:buSzTx/>
              <a:buFont typeface="Arial"/>
              <a:buChar char="•"/>
              <a:defRPr/>
            </a:pPr>
            <a:r>
              <a:rPr lang="tr-TR" sz="1200" b="1" i="1" strike="noStrike" cap="none" spc="0" baseline="0" dirty="0">
                <a:solidFill>
                  <a:srgbClr val="00A651"/>
                </a:solidFill>
                <a:effectLst/>
                <a:latin typeface="Calibri"/>
                <a:ea typeface="Calibri"/>
                <a:cs typeface="Calibri"/>
              </a:rPr>
              <a:t>Piyasaya dayalı muhasebe ile</a:t>
            </a:r>
            <a:r>
              <a:rPr lang="tr-TR" sz="1200" b="0" i="1" strike="noStrike" cap="none" spc="0" baseline="0" dirty="0">
                <a:solidFill>
                  <a:schemeClr val="tx1"/>
                </a:solidFill>
                <a:effectLst/>
                <a:latin typeface="Calibri"/>
                <a:ea typeface="Calibri"/>
                <a:cs typeface="Calibri"/>
              </a:rPr>
              <a:t> yenilenebilir </a:t>
            </a:r>
            <a:r>
              <a:rPr lang="tr-TR" sz="1200" b="1" i="1" strike="noStrike" cap="none" spc="0" baseline="0" dirty="0">
                <a:solidFill>
                  <a:srgbClr val="00A651"/>
                </a:solidFill>
                <a:effectLst/>
                <a:latin typeface="Calibri"/>
                <a:ea typeface="Calibri"/>
                <a:cs typeface="Calibri"/>
              </a:rPr>
              <a:t>enerji satın alımlarını ve yeşil elektrik sözleşmelerini hesaplayabilirsiniz.</a:t>
            </a:r>
            <a:r>
              <a:rPr lang="tr-TR" sz="1200" b="0" i="1" strike="noStrike" cap="none" spc="0" baseline="0" dirty="0">
                <a:solidFill>
                  <a:srgbClr val="FFFFFF"/>
                </a:solidFill>
                <a:effectLst/>
                <a:latin typeface="Calibri"/>
                <a:ea typeface="Calibri"/>
                <a:cs typeface="Calibri"/>
              </a:rPr>
              <a:t> </a:t>
            </a:r>
          </a:p>
          <a:p>
            <a:pPr marL="633413" lvl="1" indent="-176213">
              <a:spcBef>
                <a:spcPts val="100"/>
              </a:spcBef>
              <a:spcAft>
                <a:spcPts val="400"/>
              </a:spcAft>
              <a:buSzTx/>
              <a:buFont typeface="Arial"/>
              <a:buChar char="•"/>
              <a:defRPr/>
            </a:pPr>
            <a:r>
              <a:rPr lang="tr-TR" sz="1200" b="0" i="1" strike="noStrike" cap="none" spc="0" baseline="0" dirty="0">
                <a:solidFill>
                  <a:srgbClr val="000000"/>
                </a:solidFill>
                <a:effectLst/>
                <a:latin typeface="Calibri"/>
                <a:ea typeface="Calibri"/>
                <a:cs typeface="Calibri"/>
              </a:rPr>
              <a:t>İkisini de kullanmıyorsanız, </a:t>
            </a:r>
            <a:r>
              <a:rPr lang="tr-TR" sz="1200" b="1" i="1" strike="noStrike" cap="none" spc="0" baseline="0" dirty="0">
                <a:solidFill>
                  <a:srgbClr val="00A651"/>
                </a:solidFill>
                <a:effectLst/>
                <a:latin typeface="Calibri"/>
                <a:ea typeface="Calibri"/>
                <a:cs typeface="Calibri"/>
              </a:rPr>
              <a:t>karışım emisyon faktörü kullanmalısınız. </a:t>
            </a:r>
            <a:r>
              <a:rPr lang="tr-TR" sz="1200" b="0" i="1" strike="noStrike" cap="none" spc="0" baseline="0" dirty="0">
                <a:solidFill>
                  <a:srgbClr val="000000"/>
                </a:solidFill>
                <a:effectLst/>
                <a:latin typeface="Calibri"/>
                <a:ea typeface="Calibri"/>
                <a:cs typeface="Calibri"/>
              </a:rPr>
              <a:t>Bu, “talep edilmeyen tüm enerjiden ortalama emisyonları temsil eden bir emisyon faktörü türü” olarak tanımlanır ve </a:t>
            </a:r>
            <a:r>
              <a:rPr lang="tr-TR" sz="1200" b="1" i="1" strike="noStrike" cap="none" spc="0" baseline="0" dirty="0">
                <a:solidFill>
                  <a:srgbClr val="00A651"/>
                </a:solidFill>
                <a:effectLst/>
                <a:latin typeface="Calibri"/>
                <a:ea typeface="Calibri"/>
                <a:cs typeface="Calibri"/>
              </a:rPr>
              <a:t>genel olarak aynı bölgenin konum tabanlı EF'sinden daha yüksektir.</a:t>
            </a:r>
            <a:endParaRPr kumimoji="0" lang="en-US" sz="1200" b="0" i="0" u="none" strike="noStrike" kern="1200" cap="none" normalizeH="0" baseline="0" noProof="0" dirty="0">
              <a:ln>
                <a:noFill/>
              </a:ln>
              <a:solidFill>
                <a:schemeClr val="accent2"/>
              </a:solidFill>
              <a:effectLst/>
              <a:uLnTx/>
              <a:uFillTx/>
              <a:ea typeface="+mn-ea"/>
              <a:cs typeface="Times New Roman" panose="02020603050405020304" pitchFamily="18" charset="0"/>
            </a:endParaRPr>
          </a:p>
        </p:txBody>
      </p:sp>
      <p:cxnSp>
        <p:nvCxnSpPr>
          <p:cNvPr id="36" name="Straight Connector 35">
            <a:extLst>
              <a:ext uri="{FF2B5EF4-FFF2-40B4-BE49-F238E27FC236}">
                <a16:creationId xmlns:a16="http://schemas.microsoft.com/office/drawing/2014/main" id="{6B713443-91DD-903D-C99E-9B5F6C76E756}"/>
              </a:ext>
            </a:extLst>
          </p:cNvPr>
          <p:cNvCxnSpPr/>
          <p:nvPr/>
        </p:nvCxnSpPr>
        <p:spPr>
          <a:xfrm>
            <a:off x="1743075" y="3102049"/>
            <a:ext cx="983615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C6BE25D-DF33-6B8C-AF3C-B39D5D19B664}"/>
              </a:ext>
            </a:extLst>
          </p:cNvPr>
          <p:cNvCxnSpPr/>
          <p:nvPr/>
        </p:nvCxnSpPr>
        <p:spPr>
          <a:xfrm flipH="1">
            <a:off x="6659217" y="1494614"/>
            <a:ext cx="0" cy="4818637"/>
          </a:xfrm>
          <a:prstGeom prst="line">
            <a:avLst/>
          </a:prstGeom>
          <a:ln>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1EAA561-B714-AA58-7E56-7465D2B03290}"/>
              </a:ext>
            </a:extLst>
          </p:cNvPr>
          <p:cNvSpPr txBox="1"/>
          <p:nvPr/>
        </p:nvSpPr>
        <p:spPr>
          <a:xfrm>
            <a:off x="6733536" y="5200886"/>
            <a:ext cx="4845689" cy="944880"/>
          </a:xfrm>
          <a:prstGeom prst="rect">
            <a:avLst/>
          </a:prstGeom>
          <a:solidFill>
            <a:schemeClr val="bg1">
              <a:lumMod val="95000"/>
            </a:schemeClr>
          </a:solidFill>
        </p:spPr>
        <p:txBody>
          <a:bodyPr wrap="square" lIns="91440" tIns="45720" rIns="91440" bIns="45720" anchor="ctr" anchorCtr="0">
            <a:spAutoFit/>
          </a:bodyPr>
          <a:lstStyle/>
          <a:p>
            <a:pPr algn="ctr"/>
            <a:r>
              <a:rPr lang="tr-TR" sz="1400" b="0" i="0" strike="noStrike" cap="none" spc="0" baseline="0">
                <a:solidFill>
                  <a:srgbClr val="003272"/>
                </a:solidFill>
                <a:effectLst/>
                <a:latin typeface="Calibri"/>
                <a:ea typeface="Calibri"/>
                <a:cs typeface="Calibri"/>
              </a:rPr>
              <a:t>Elektrik yükünün PEP kısmını %100 RE'ye </a:t>
            </a:r>
            <a:br>
              <a:rPr sz="1400"/>
            </a:br>
            <a:r>
              <a:rPr lang="tr-TR" sz="1400" b="0" i="0" strike="noStrike" cap="none" spc="0" baseline="0">
                <a:solidFill>
                  <a:srgbClr val="003272"/>
                </a:solidFill>
                <a:effectLst/>
                <a:latin typeface="Calibri"/>
                <a:ea typeface="Calibri"/>
                <a:cs typeface="Calibri"/>
              </a:rPr>
              <a:t>(kanıtlamak için güvenilir </a:t>
            </a:r>
            <a:r>
              <a:rPr lang="tr-TR" sz="1400" b="1" i="0" strike="noStrike" cap="none" spc="0" baseline="0">
                <a:solidFill>
                  <a:srgbClr val="003272"/>
                </a:solidFill>
                <a:effectLst/>
                <a:latin typeface="Calibri"/>
                <a:ea typeface="Calibri"/>
                <a:cs typeface="Calibri"/>
              </a:rPr>
              <a:t>Enerji Özniteliği Sertifikaları (EAC'ler) </a:t>
            </a:r>
            <a:r>
              <a:rPr lang="tr-TR" sz="1400" b="0" i="0" strike="noStrike" cap="none" spc="0" baseline="0">
                <a:solidFill>
                  <a:srgbClr val="003272"/>
                </a:solidFill>
                <a:effectLst/>
                <a:latin typeface="Calibri"/>
                <a:ea typeface="Calibri"/>
                <a:cs typeface="Calibri"/>
              </a:rPr>
              <a:t>ile) çevirdiğinizde, ilgili piyasa tabanlı Kapsam 2 emisyonları sıfıra dönüşür.</a:t>
            </a:r>
          </a:p>
        </p:txBody>
      </p:sp>
      <p:cxnSp>
        <p:nvCxnSpPr>
          <p:cNvPr id="39" name="Straight Connector 38">
            <a:extLst>
              <a:ext uri="{FF2B5EF4-FFF2-40B4-BE49-F238E27FC236}">
                <a16:creationId xmlns:a16="http://schemas.microsoft.com/office/drawing/2014/main" id="{19FFC921-9543-9ED5-E638-4A68DA39E859}"/>
              </a:ext>
            </a:extLst>
          </p:cNvPr>
          <p:cNvCxnSpPr/>
          <p:nvPr/>
        </p:nvCxnSpPr>
        <p:spPr>
          <a:xfrm flipV="1">
            <a:off x="6804791" y="5106271"/>
            <a:ext cx="4703178" cy="0"/>
          </a:xfrm>
          <a:prstGeom prst="line">
            <a:avLst/>
          </a:prstGeom>
          <a:ln w="6350">
            <a:solidFill>
              <a:schemeClr val="bg1">
                <a:lumMod val="50000"/>
              </a:schemeClr>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0" name="Isosceles Triangle 39">
            <a:extLst>
              <a:ext uri="{FF2B5EF4-FFF2-40B4-BE49-F238E27FC236}">
                <a16:creationId xmlns:a16="http://schemas.microsoft.com/office/drawing/2014/main" id="{B67F9337-24AD-155D-D5E4-6760C105FD47}"/>
              </a:ext>
            </a:extLst>
          </p:cNvPr>
          <p:cNvSpPr/>
          <p:nvPr/>
        </p:nvSpPr>
        <p:spPr>
          <a:xfrm flipV="1">
            <a:off x="8892646" y="5106271"/>
            <a:ext cx="527468" cy="155627"/>
          </a:xfrm>
          <a:prstGeom prst="triangle">
            <a:avLst/>
          </a:prstGeom>
          <a:solidFill>
            <a:schemeClr val="bg1">
              <a:lumMod val="5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933881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3DF16B-95B3-F0F3-7E80-68B0C46B76F5}"/>
              </a:ext>
            </a:extLst>
          </p:cNvPr>
          <p:cNvSpPr>
            <a:spLocks noGrp="1"/>
          </p:cNvSpPr>
          <p:nvPr>
            <p:ph type="body" sz="quarter" idx="20"/>
          </p:nvPr>
        </p:nvSpPr>
        <p:spPr/>
        <p:txBody>
          <a:bodyPr/>
          <a:lstStyle/>
          <a:p>
            <a:r>
              <a:rPr lang="tr-TR" sz="1800" b="0" i="0" strike="noStrike" cap="none" spc="0" baseline="0">
                <a:solidFill>
                  <a:srgbClr val="004CAC"/>
                </a:solidFill>
                <a:effectLst/>
                <a:latin typeface="Calibri"/>
                <a:ea typeface="Calibri"/>
                <a:cs typeface="Calibri"/>
              </a:rPr>
              <a:t>Bir </a:t>
            </a:r>
            <a:r>
              <a:rPr lang="tr-TR" sz="1800" b="1" i="0" strike="noStrike" cap="none" spc="0" baseline="0">
                <a:solidFill>
                  <a:srgbClr val="004CAC"/>
                </a:solidFill>
                <a:effectLst/>
                <a:latin typeface="Calibri"/>
                <a:ea typeface="Calibri"/>
                <a:cs typeface="Calibri"/>
              </a:rPr>
              <a:t>EAC </a:t>
            </a:r>
            <a:r>
              <a:rPr lang="tr-TR" sz="1800" b="0" i="0" strike="noStrike" cap="none" spc="0" baseline="0">
                <a:solidFill>
                  <a:srgbClr val="004CAC"/>
                </a:solidFill>
                <a:effectLst/>
                <a:latin typeface="Calibri"/>
                <a:ea typeface="Calibri"/>
                <a:cs typeface="Calibri"/>
              </a:rPr>
              <a:t>(Kuzey Amerika'da Yenilenebilir Enerji Kredisi (REC) olarak bilinebilir; Avrupa'da Menşe Garantisi (GO) veya birçok gelişmekte olan pazarda uluslararası Yenilenebilir Enerji Kredisi (iREC) yenilenebilir enerji kaynağından elektrik üretimiyle ilişkili </a:t>
            </a:r>
            <a:r>
              <a:rPr lang="tr-TR" sz="1800" b="1" i="0" strike="noStrike" cap="none" spc="0" baseline="0">
                <a:solidFill>
                  <a:srgbClr val="004CAC"/>
                </a:solidFill>
                <a:effectLst/>
                <a:latin typeface="Calibri"/>
                <a:ea typeface="Calibri"/>
                <a:cs typeface="Calibri"/>
              </a:rPr>
              <a:t>çevresel özellikleri</a:t>
            </a:r>
            <a:r>
              <a:rPr lang="tr-TR" sz="1800" b="0" i="0" strike="noStrike" cap="none" spc="0" baseline="0">
                <a:solidFill>
                  <a:srgbClr val="004CAC"/>
                </a:solidFill>
                <a:effectLst/>
                <a:latin typeface="Calibri"/>
                <a:ea typeface="Calibri"/>
                <a:cs typeface="Calibri"/>
              </a:rPr>
              <a:t> temsil eder</a:t>
            </a:r>
          </a:p>
          <a:p>
            <a:pPr marL="0" indent="0">
              <a:buNone/>
            </a:pPr>
            <a:endParaRPr lang="en-US" sz="1800" b="0" i="0" u="none" strike="noStrike">
              <a:solidFill>
                <a:srgbClr val="004CAC"/>
              </a:solidFill>
              <a:effectLst/>
              <a:latin typeface="Calibri" panose="020F0502020204030204" pitchFamily="34" charset="0"/>
            </a:endParaRPr>
          </a:p>
          <a:p>
            <a:r>
              <a:rPr lang="tr-TR" sz="1800" b="0" i="0" strike="noStrike" cap="none" spc="0" baseline="0">
                <a:solidFill>
                  <a:srgbClr val="004CAC"/>
                </a:solidFill>
                <a:effectLst/>
                <a:latin typeface="Calibri"/>
                <a:ea typeface="Calibri"/>
                <a:cs typeface="Calibri"/>
              </a:rPr>
              <a:t>1MWh = 1 EAC</a:t>
            </a:r>
          </a:p>
          <a:p>
            <a:pPr marL="0" indent="0">
              <a:buNone/>
            </a:pPr>
            <a:endParaRPr lang="en-US" sz="1800" b="0" i="0" u="none" strike="noStrike">
              <a:solidFill>
                <a:srgbClr val="004CAC"/>
              </a:solidFill>
              <a:effectLst/>
              <a:latin typeface="Calibri" panose="020F0502020204030204" pitchFamily="34" charset="0"/>
            </a:endParaRPr>
          </a:p>
          <a:p>
            <a:r>
              <a:rPr lang="tr-TR" sz="1800" b="0" i="0" strike="noStrike" cap="none" spc="0" baseline="0">
                <a:solidFill>
                  <a:srgbClr val="004CAC"/>
                </a:solidFill>
                <a:effectLst/>
                <a:latin typeface="Calibri"/>
                <a:ea typeface="Calibri"/>
                <a:cs typeface="Calibri"/>
              </a:rPr>
              <a:t>Elektriğin yenilenebilir bir kaynaktan olarak değerlendirilmesi için (uyumlu raporlama taleplerine olanak sağlamak amacıyla) </a:t>
            </a:r>
            <a:r>
              <a:rPr lang="tr-TR" sz="1800" b="1" i="0" strike="noStrike" cap="none" spc="0" baseline="0">
                <a:solidFill>
                  <a:srgbClr val="004CAC"/>
                </a:solidFill>
                <a:effectLst/>
                <a:latin typeface="Calibri"/>
                <a:ea typeface="Calibri"/>
                <a:cs typeface="Calibri"/>
              </a:rPr>
              <a:t>tüketilen elektrik, bir yenilenebilir enerji projesinden eşdeğer bir EAC hacmi ile eşleştirilmelidir</a:t>
            </a:r>
            <a:endParaRPr lang="en-US" sz="1800"/>
          </a:p>
          <a:p>
            <a:endParaRPr lang="en-US"/>
          </a:p>
        </p:txBody>
      </p:sp>
      <p:sp>
        <p:nvSpPr>
          <p:cNvPr id="3" name="Title 2">
            <a:extLst>
              <a:ext uri="{FF2B5EF4-FFF2-40B4-BE49-F238E27FC236}">
                <a16:creationId xmlns:a16="http://schemas.microsoft.com/office/drawing/2014/main" id="{FE62E5A5-514E-AFAC-43B1-4848537C2990}"/>
              </a:ext>
            </a:extLst>
          </p:cNvPr>
          <p:cNvSpPr>
            <a:spLocks noGrp="1"/>
          </p:cNvSpPr>
          <p:nvPr>
            <p:ph type="title"/>
          </p:nvPr>
        </p:nvSpPr>
        <p:spPr/>
        <p:txBody>
          <a:bodyPr/>
          <a:lstStyle/>
          <a:p>
            <a:r>
              <a:rPr lang="tr-TR" sz="3200" b="1" i="0" strike="noStrike" cap="none" spc="-20" baseline="0">
                <a:solidFill>
                  <a:srgbClr val="FFFFFF"/>
                </a:solidFill>
                <a:effectLst/>
                <a:latin typeface="Calibri"/>
                <a:ea typeface="Calibri"/>
                <a:cs typeface="Calibri"/>
              </a:rPr>
              <a:t>İnandırıcı Yenilenebilir Elektrik Taleplerinde Bulunmak için EAC’lere ihtiyacınız var</a:t>
            </a:r>
            <a:endParaRPr lang="en-US"/>
          </a:p>
        </p:txBody>
      </p:sp>
      <p:sp>
        <p:nvSpPr>
          <p:cNvPr id="4" name="Text Placeholder 3">
            <a:extLst>
              <a:ext uri="{FF2B5EF4-FFF2-40B4-BE49-F238E27FC236}">
                <a16:creationId xmlns:a16="http://schemas.microsoft.com/office/drawing/2014/main" id="{464AAE69-E55D-9538-9EAB-045D90E0D2A9}"/>
              </a:ext>
            </a:extLst>
          </p:cNvPr>
          <p:cNvSpPr>
            <a:spLocks noGrp="1"/>
          </p:cNvSpPr>
          <p:nvPr>
            <p:ph type="body" sz="quarter" idx="14"/>
          </p:nvPr>
        </p:nvSpPr>
        <p:spPr/>
        <p:txBody>
          <a:bodyPr/>
          <a:lstStyle/>
          <a:p>
            <a:r>
              <a:rPr lang="tr-TR" sz="2000" b="1" i="0" strike="noStrike" cap="none" spc="0" baseline="0">
                <a:solidFill>
                  <a:srgbClr val="004CAC"/>
                </a:solidFill>
                <a:effectLst/>
                <a:latin typeface="Calibri"/>
                <a:ea typeface="Calibri"/>
                <a:cs typeface="Calibri"/>
              </a:rPr>
              <a:t>EAC'ler nelerdir?</a:t>
            </a:r>
          </a:p>
        </p:txBody>
      </p:sp>
      <p:sp>
        <p:nvSpPr>
          <p:cNvPr id="5" name="Text Placeholder 4">
            <a:extLst>
              <a:ext uri="{FF2B5EF4-FFF2-40B4-BE49-F238E27FC236}">
                <a16:creationId xmlns:a16="http://schemas.microsoft.com/office/drawing/2014/main" id="{6D97BDBD-A6DA-E575-07E3-3BD28E361BDC}"/>
              </a:ext>
            </a:extLst>
          </p:cNvPr>
          <p:cNvSpPr>
            <a:spLocks noGrp="1"/>
          </p:cNvSpPr>
          <p:nvPr>
            <p:ph type="body" sz="quarter" idx="17"/>
          </p:nvPr>
        </p:nvSpPr>
        <p:spPr>
          <a:xfrm>
            <a:off x="6294923" y="1287609"/>
            <a:ext cx="5540905" cy="421593"/>
          </a:xfrm>
        </p:spPr>
        <p:txBody>
          <a:bodyPr/>
          <a:lstStyle/>
          <a:p>
            <a:r>
              <a:rPr lang="tr-TR" sz="2000" b="1" i="0" strike="noStrike" cap="none" spc="0" baseline="0">
                <a:solidFill>
                  <a:srgbClr val="004CAC"/>
                </a:solidFill>
                <a:effectLst/>
                <a:latin typeface="Calibri"/>
                <a:ea typeface="Calibri"/>
                <a:cs typeface="Calibri"/>
              </a:rPr>
              <a:t>NA/EU dışındaki EAC'lerin gösterge fiyatları nelerdir?</a:t>
            </a:r>
          </a:p>
        </p:txBody>
      </p:sp>
      <p:sp>
        <p:nvSpPr>
          <p:cNvPr id="6" name="Text Placeholder 5">
            <a:extLst>
              <a:ext uri="{FF2B5EF4-FFF2-40B4-BE49-F238E27FC236}">
                <a16:creationId xmlns:a16="http://schemas.microsoft.com/office/drawing/2014/main" id="{CF7DDD14-DABD-E18F-20BE-4856B4BD4A63}"/>
              </a:ext>
            </a:extLst>
          </p:cNvPr>
          <p:cNvSpPr>
            <a:spLocks noGrp="1"/>
          </p:cNvSpPr>
          <p:nvPr>
            <p:ph type="body" sz="quarter" idx="2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sz="1400" i="1" dirty="0"/>
          </a:p>
          <a:p>
            <a:r>
              <a:rPr lang="tr-TR" sz="1400" b="0" i="1" strike="noStrike" cap="none" spc="0" baseline="0" dirty="0">
                <a:solidFill>
                  <a:srgbClr val="004CAC"/>
                </a:solidFill>
                <a:effectLst/>
                <a:latin typeface="Calibri"/>
                <a:ea typeface="Calibri"/>
                <a:cs typeface="Calibri"/>
              </a:rPr>
              <a:t>Kaynak: 3 derece EAC pazar güncellemesi, Mayıs 2023.</a:t>
            </a:r>
          </a:p>
          <a:p>
            <a:r>
              <a:rPr lang="tr-TR" sz="1400" b="0" i="1" strike="noStrike" cap="none" spc="0" baseline="0" dirty="0">
                <a:solidFill>
                  <a:srgbClr val="004CAC"/>
                </a:solidFill>
                <a:effectLst/>
                <a:latin typeface="Calibri"/>
                <a:ea typeface="Calibri"/>
                <a:cs typeface="Calibri"/>
              </a:rPr>
              <a:t>Bildirim: Bu sadece referans amaçlı gösterge niteliğinde bir bilgidir. Fiyatlar, satın alma zamanına, teknoloji özelliklerine, hacme, teslimata ve işleme hazır olduğunuz sırada ek ürün özelliklerine bağlıdır. </a:t>
            </a:r>
          </a:p>
        </p:txBody>
      </p:sp>
      <p:pic>
        <p:nvPicPr>
          <p:cNvPr id="7" name="Picture 6">
            <a:extLst>
              <a:ext uri="{FF2B5EF4-FFF2-40B4-BE49-F238E27FC236}">
                <a16:creationId xmlns:a16="http://schemas.microsoft.com/office/drawing/2014/main" id="{3CFB8647-B3B8-E6D5-9032-DFE82B2C5C56}"/>
              </a:ext>
            </a:extLst>
          </p:cNvPr>
          <p:cNvPicPr>
            <a:picLocks noChangeAspect="1"/>
          </p:cNvPicPr>
          <p:nvPr/>
        </p:nvPicPr>
        <p:blipFill>
          <a:blip r:embed="rId2"/>
          <a:stretch>
            <a:fillRect/>
          </a:stretch>
        </p:blipFill>
        <p:spPr>
          <a:xfrm>
            <a:off x="6301439" y="1989297"/>
            <a:ext cx="4471664" cy="2598399"/>
          </a:xfrm>
          <a:prstGeom prst="rect">
            <a:avLst/>
          </a:prstGeom>
        </p:spPr>
      </p:pic>
      <p:sp>
        <p:nvSpPr>
          <p:cNvPr id="8" name="TextBox 7">
            <a:extLst>
              <a:ext uri="{FF2B5EF4-FFF2-40B4-BE49-F238E27FC236}">
                <a16:creationId xmlns:a16="http://schemas.microsoft.com/office/drawing/2014/main" id="{CC5FF0A2-795C-489C-AC5E-F9F763180EAB}"/>
              </a:ext>
            </a:extLst>
          </p:cNvPr>
          <p:cNvSpPr txBox="1"/>
          <p:nvPr/>
        </p:nvSpPr>
        <p:spPr>
          <a:xfrm>
            <a:off x="6945349" y="2085059"/>
            <a:ext cx="3827754" cy="2015936"/>
          </a:xfrm>
          <a:prstGeom prst="rect">
            <a:avLst/>
          </a:prstGeom>
          <a:solidFill>
            <a:schemeClr val="bg1"/>
          </a:solidFill>
        </p:spPr>
        <p:txBody>
          <a:bodyPr wrap="square" rtlCol="0">
            <a:spAutoFit/>
          </a:bodyPr>
          <a:lstStyle/>
          <a:p>
            <a:r>
              <a:rPr lang="tr-TR" sz="1250" b="0" i="0" strike="noStrike" cap="none" spc="0" baseline="0" dirty="0">
                <a:solidFill>
                  <a:srgbClr val="000000"/>
                </a:solidFill>
                <a:effectLst/>
                <a:latin typeface="Times New Roman"/>
                <a:ea typeface="Times New Roman"/>
                <a:cs typeface="Times New Roman"/>
              </a:rPr>
              <a:t>Meksika rüzgar/güneş enerjisi</a:t>
            </a:r>
            <a:r>
              <a:rPr lang="en-US" sz="1250" b="0" i="0" strike="noStrike" cap="none" spc="0" baseline="0" dirty="0">
                <a:solidFill>
                  <a:srgbClr val="000000"/>
                </a:solidFill>
                <a:effectLst/>
                <a:latin typeface="Times New Roman"/>
                <a:ea typeface="Times New Roman"/>
                <a:cs typeface="Times New Roman"/>
              </a:rPr>
              <a:t> </a:t>
            </a:r>
            <a:r>
              <a:rPr lang="tr-TR" sz="1250" b="0" i="0" strike="noStrike" cap="none" spc="0" baseline="0" dirty="0">
                <a:solidFill>
                  <a:srgbClr val="000000"/>
                </a:solidFill>
                <a:effectLst/>
                <a:latin typeface="Times New Roman"/>
                <a:ea typeface="Times New Roman"/>
                <a:cs typeface="Times New Roman"/>
              </a:rPr>
              <a:t>1,72 USD/MWh</a:t>
            </a:r>
          </a:p>
          <a:p>
            <a:r>
              <a:rPr lang="tr-TR" sz="1250" b="0" i="0" strike="noStrike" cap="none" spc="0" baseline="0" dirty="0">
                <a:solidFill>
                  <a:srgbClr val="000000"/>
                </a:solidFill>
                <a:effectLst/>
                <a:latin typeface="Times New Roman"/>
                <a:ea typeface="Times New Roman"/>
                <a:cs typeface="Times New Roman"/>
              </a:rPr>
              <a:t>Brezilya		0,35 ABD Doları/MWh</a:t>
            </a:r>
          </a:p>
          <a:p>
            <a:r>
              <a:rPr lang="tr-TR" sz="1250" b="0" i="0" strike="noStrike" cap="none" spc="0" baseline="0" dirty="0">
                <a:solidFill>
                  <a:srgbClr val="000000"/>
                </a:solidFill>
                <a:effectLst/>
                <a:latin typeface="Times New Roman"/>
                <a:ea typeface="Times New Roman"/>
                <a:cs typeface="Times New Roman"/>
              </a:rPr>
              <a:t>Güney Afrika	</a:t>
            </a:r>
            <a:r>
              <a:rPr lang="en-US" sz="1250" b="0" i="0" strike="noStrike" cap="none" spc="0" baseline="0" dirty="0">
                <a:solidFill>
                  <a:srgbClr val="000000"/>
                </a:solidFill>
                <a:effectLst/>
                <a:latin typeface="Times New Roman"/>
                <a:ea typeface="Times New Roman"/>
                <a:cs typeface="Times New Roman"/>
              </a:rPr>
              <a:t>                       </a:t>
            </a:r>
            <a:r>
              <a:rPr lang="tr-TR" sz="1250" b="0" i="0" strike="noStrike" cap="none" spc="0" baseline="0" dirty="0">
                <a:solidFill>
                  <a:srgbClr val="000000"/>
                </a:solidFill>
                <a:effectLst/>
                <a:latin typeface="Times New Roman"/>
                <a:ea typeface="Times New Roman"/>
                <a:cs typeface="Times New Roman"/>
              </a:rPr>
              <a:t>1,72 ABD Doları/MWh</a:t>
            </a:r>
          </a:p>
          <a:p>
            <a:r>
              <a:rPr lang="tr-TR" sz="1250" b="0" i="0" strike="noStrike" cap="none" spc="0" baseline="0" dirty="0">
                <a:solidFill>
                  <a:srgbClr val="000000"/>
                </a:solidFill>
                <a:effectLst/>
                <a:latin typeface="Times New Roman"/>
                <a:ea typeface="Times New Roman"/>
                <a:cs typeface="Times New Roman"/>
              </a:rPr>
              <a:t>BAE		2,20 ABD Doları/MWh</a:t>
            </a:r>
          </a:p>
          <a:p>
            <a:r>
              <a:rPr lang="tr-TR" sz="1250" b="0" i="0" strike="noStrike" cap="none" spc="0" baseline="0" dirty="0">
                <a:solidFill>
                  <a:srgbClr val="000000"/>
                </a:solidFill>
                <a:effectLst/>
                <a:latin typeface="Times New Roman"/>
                <a:ea typeface="Times New Roman"/>
                <a:cs typeface="Times New Roman"/>
              </a:rPr>
              <a:t>Hindistan hidro	1,25 ABD Doları/MWh</a:t>
            </a:r>
          </a:p>
          <a:p>
            <a:r>
              <a:rPr lang="tr-TR" sz="1250" b="0" i="0" strike="noStrike" cap="none" spc="0" baseline="0" dirty="0">
                <a:solidFill>
                  <a:srgbClr val="000000"/>
                </a:solidFill>
                <a:effectLst/>
                <a:latin typeface="Times New Roman"/>
                <a:ea typeface="Times New Roman"/>
                <a:cs typeface="Times New Roman"/>
              </a:rPr>
              <a:t>Hindistan rüzgar/güneş enerjisi</a:t>
            </a:r>
            <a:r>
              <a:rPr lang="en-US" sz="1250" b="0" i="0" strike="noStrike" cap="none" spc="0" baseline="0" dirty="0">
                <a:solidFill>
                  <a:srgbClr val="000000"/>
                </a:solidFill>
                <a:effectLst/>
                <a:latin typeface="Times New Roman"/>
                <a:ea typeface="Times New Roman"/>
                <a:cs typeface="Times New Roman"/>
              </a:rPr>
              <a:t> </a:t>
            </a:r>
            <a:r>
              <a:rPr lang="tr-TR" sz="1250" b="0" i="0" strike="noStrike" cap="none" spc="0" baseline="0" dirty="0">
                <a:solidFill>
                  <a:srgbClr val="000000"/>
                </a:solidFill>
                <a:effectLst/>
                <a:latin typeface="Times New Roman"/>
                <a:ea typeface="Times New Roman"/>
                <a:cs typeface="Times New Roman"/>
              </a:rPr>
              <a:t>1,70 ABD Doları/MWh</a:t>
            </a:r>
          </a:p>
          <a:p>
            <a:r>
              <a:rPr lang="tr-TR" sz="1250" b="0" i="0" strike="noStrike" cap="none" spc="0" baseline="0" dirty="0">
                <a:solidFill>
                  <a:srgbClr val="000000"/>
                </a:solidFill>
                <a:effectLst/>
                <a:latin typeface="Times New Roman"/>
                <a:ea typeface="Times New Roman"/>
                <a:cs typeface="Times New Roman"/>
              </a:rPr>
              <a:t>Tayland		2,00 ABD Doları/MWh</a:t>
            </a:r>
          </a:p>
          <a:p>
            <a:r>
              <a:rPr lang="tr-TR" sz="1250" b="0" i="0" strike="noStrike" cap="none" spc="0" baseline="0" dirty="0">
                <a:solidFill>
                  <a:srgbClr val="000000"/>
                </a:solidFill>
                <a:effectLst/>
                <a:latin typeface="Times New Roman"/>
                <a:ea typeface="Times New Roman"/>
                <a:cs typeface="Times New Roman"/>
              </a:rPr>
              <a:t>Çin hidro	</a:t>
            </a:r>
            <a:r>
              <a:rPr lang="en-US" sz="1250" b="0" i="0" strike="noStrike" cap="none" spc="0" baseline="0" dirty="0">
                <a:solidFill>
                  <a:srgbClr val="000000"/>
                </a:solidFill>
                <a:effectLst/>
                <a:latin typeface="Times New Roman"/>
                <a:ea typeface="Times New Roman"/>
                <a:cs typeface="Times New Roman"/>
              </a:rPr>
              <a:t>                       </a:t>
            </a:r>
            <a:r>
              <a:rPr lang="tr-TR" sz="1250" b="0" i="0" strike="noStrike" cap="none" spc="0" baseline="0" dirty="0">
                <a:solidFill>
                  <a:srgbClr val="000000"/>
                </a:solidFill>
                <a:effectLst/>
                <a:latin typeface="Times New Roman"/>
                <a:ea typeface="Times New Roman"/>
                <a:cs typeface="Times New Roman"/>
              </a:rPr>
              <a:t>0,37 ABD Doları/MWh</a:t>
            </a:r>
          </a:p>
          <a:p>
            <a:r>
              <a:rPr lang="tr-TR" sz="1250" b="0" i="0" strike="noStrike" cap="none" spc="0" baseline="0" dirty="0">
                <a:solidFill>
                  <a:srgbClr val="000000"/>
                </a:solidFill>
                <a:effectLst/>
                <a:latin typeface="Times New Roman"/>
                <a:ea typeface="Times New Roman"/>
                <a:cs typeface="Times New Roman"/>
              </a:rPr>
              <a:t>Çin rüzgar/güneş	1,24 ABD Doları/MWh</a:t>
            </a:r>
          </a:p>
          <a:p>
            <a:r>
              <a:rPr lang="tr-TR" sz="1250" b="0" i="0" strike="noStrike" cap="none" spc="0" baseline="0" dirty="0">
                <a:solidFill>
                  <a:srgbClr val="000000"/>
                </a:solidFill>
                <a:effectLst/>
                <a:latin typeface="Times New Roman"/>
                <a:ea typeface="Times New Roman"/>
                <a:cs typeface="Times New Roman"/>
              </a:rPr>
              <a:t>Avustralya		36,25 ABD Doları/MWh</a:t>
            </a:r>
          </a:p>
        </p:txBody>
      </p:sp>
      <p:sp>
        <p:nvSpPr>
          <p:cNvPr id="9" name="TextBox 8"/>
          <p:cNvSpPr txBox="1"/>
          <p:nvPr/>
        </p:nvSpPr>
        <p:spPr>
          <a:xfrm>
            <a:off x="6660107" y="4080678"/>
            <a:ext cx="4244454" cy="491320"/>
          </a:xfrm>
          <a:prstGeom prst="rect">
            <a:avLst/>
          </a:prstGeom>
          <a:solidFill>
            <a:schemeClr val="bg1"/>
          </a:solidFill>
        </p:spPr>
        <p:txBody>
          <a:bodyPr wrap="square" rtlCol="0">
            <a:spAutoFit/>
          </a:bodyPr>
          <a:lstStyle/>
          <a:p>
            <a:endParaRPr lang="en-US" dirty="0"/>
          </a:p>
        </p:txBody>
      </p:sp>
    </p:spTree>
    <p:extLst>
      <p:ext uri="{BB962C8B-B14F-4D97-AF65-F5344CB8AC3E}">
        <p14:creationId xmlns:p14="http://schemas.microsoft.com/office/powerpoint/2010/main" val="390337979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48C72E-418C-AC83-A7E7-694A53736AA2}"/>
              </a:ext>
            </a:extLst>
          </p:cNvPr>
          <p:cNvSpPr>
            <a:spLocks noGrp="1"/>
          </p:cNvSpPr>
          <p:nvPr>
            <p:ph type="body" sz="quarter" idx="13"/>
          </p:nvPr>
        </p:nvSpPr>
        <p:spPr/>
        <p:txBody>
          <a:bodyPr>
            <a:normAutofit lnSpcReduction="10000"/>
          </a:bodyPr>
          <a:lstStyle/>
          <a:p>
            <a:endParaRPr lang="en-GB"/>
          </a:p>
        </p:txBody>
      </p:sp>
      <p:sp>
        <p:nvSpPr>
          <p:cNvPr id="3" name="Text Placeholder 2">
            <a:extLst>
              <a:ext uri="{FF2B5EF4-FFF2-40B4-BE49-F238E27FC236}">
                <a16:creationId xmlns:a16="http://schemas.microsoft.com/office/drawing/2014/main" id="{A004E139-3D77-0BFE-19FD-9AAEBC5FB933}"/>
              </a:ext>
            </a:extLst>
          </p:cNvPr>
          <p:cNvSpPr>
            <a:spLocks noGrp="1"/>
          </p:cNvSpPr>
          <p:nvPr>
            <p:ph type="body" sz="quarter" idx="14"/>
          </p:nvPr>
        </p:nvSpPr>
        <p:spPr/>
        <p:txBody>
          <a:bodyPr/>
          <a:lstStyle/>
          <a:p>
            <a:endParaRPr lang="en-GB"/>
          </a:p>
        </p:txBody>
      </p:sp>
      <p:sp>
        <p:nvSpPr>
          <p:cNvPr id="4" name="Text Placeholder 3">
            <a:extLst>
              <a:ext uri="{FF2B5EF4-FFF2-40B4-BE49-F238E27FC236}">
                <a16:creationId xmlns:a16="http://schemas.microsoft.com/office/drawing/2014/main" id="{B639FB20-5CB3-0013-F5B0-AB609526A5E4}"/>
              </a:ext>
            </a:extLst>
          </p:cNvPr>
          <p:cNvSpPr>
            <a:spLocks noGrp="1"/>
          </p:cNvSpPr>
          <p:nvPr>
            <p:ph type="body" sz="quarter" idx="15"/>
          </p:nvPr>
        </p:nvSpPr>
        <p:spPr/>
        <p:txBody>
          <a:bodyPr/>
          <a:lstStyle/>
          <a:p>
            <a:endParaRPr lang="en-GB"/>
          </a:p>
        </p:txBody>
      </p:sp>
      <p:pic>
        <p:nvPicPr>
          <p:cNvPr id="6" name="Picture 5">
            <a:extLst>
              <a:ext uri="{FF2B5EF4-FFF2-40B4-BE49-F238E27FC236}">
                <a16:creationId xmlns:a16="http://schemas.microsoft.com/office/drawing/2014/main" id="{554E1395-9894-BA3D-D228-891CF7E5FBC0}"/>
              </a:ext>
            </a:extLst>
          </p:cNvPr>
          <p:cNvPicPr>
            <a:picLocks noChangeAspect="1"/>
          </p:cNvPicPr>
          <p:nvPr/>
        </p:nvPicPr>
        <p:blipFill>
          <a:blip r:embed="rId2"/>
          <a:stretch>
            <a:fillRect/>
          </a:stretch>
        </p:blipFill>
        <p:spPr>
          <a:xfrm>
            <a:off x="-46297" y="-34726"/>
            <a:ext cx="12611971" cy="7072133"/>
          </a:xfrm>
          <a:prstGeom prst="rect">
            <a:avLst/>
          </a:prstGeom>
        </p:spPr>
      </p:pic>
      <p:sp>
        <p:nvSpPr>
          <p:cNvPr id="8" name="TextBox 7">
            <a:extLst>
              <a:ext uri="{FF2B5EF4-FFF2-40B4-BE49-F238E27FC236}">
                <a16:creationId xmlns:a16="http://schemas.microsoft.com/office/drawing/2014/main" id="{E59684CC-C661-43A4-A4D9-9A72D8413C94}"/>
              </a:ext>
            </a:extLst>
          </p:cNvPr>
          <p:cNvSpPr txBox="1"/>
          <p:nvPr/>
        </p:nvSpPr>
        <p:spPr>
          <a:xfrm>
            <a:off x="620683" y="133003"/>
            <a:ext cx="4355869" cy="579120"/>
          </a:xfrm>
          <a:prstGeom prst="rect">
            <a:avLst/>
          </a:prstGeom>
          <a:solidFill>
            <a:srgbClr val="0265E6"/>
          </a:solidFill>
        </p:spPr>
        <p:txBody>
          <a:bodyPr wrap="square" rtlCol="0">
            <a:spAutoFit/>
          </a:bodyPr>
          <a:lstStyle/>
          <a:p>
            <a:r>
              <a:rPr lang="tr-TR" sz="3200" b="1" i="0" strike="noStrike" cap="none" spc="0" baseline="0">
                <a:solidFill>
                  <a:srgbClr val="FFFFFF"/>
                </a:solidFill>
                <a:effectLst/>
                <a:latin typeface="Calibri"/>
                <a:ea typeface="Calibri"/>
                <a:cs typeface="Calibri"/>
              </a:rPr>
              <a:t>Anti-tröst beyanı</a:t>
            </a:r>
          </a:p>
        </p:txBody>
      </p:sp>
      <p:sp>
        <p:nvSpPr>
          <p:cNvPr id="9" name="TextBox 8">
            <a:extLst>
              <a:ext uri="{FF2B5EF4-FFF2-40B4-BE49-F238E27FC236}">
                <a16:creationId xmlns:a16="http://schemas.microsoft.com/office/drawing/2014/main" id="{A0C5545E-084F-4A0D-BF75-18C7A9434DA9}"/>
              </a:ext>
            </a:extLst>
          </p:cNvPr>
          <p:cNvSpPr txBox="1"/>
          <p:nvPr/>
        </p:nvSpPr>
        <p:spPr>
          <a:xfrm>
            <a:off x="659477" y="1286975"/>
            <a:ext cx="10676693" cy="518160"/>
          </a:xfrm>
          <a:prstGeom prst="rect">
            <a:avLst/>
          </a:prstGeom>
          <a:solidFill>
            <a:schemeClr val="bg1"/>
          </a:solidFill>
        </p:spPr>
        <p:txBody>
          <a:bodyPr wrap="square" rtlCol="0">
            <a:spAutoFit/>
          </a:bodyPr>
          <a:lstStyle/>
          <a:p>
            <a:r>
              <a:rPr lang="tr-TR" sz="2800" b="1" i="0" strike="noStrike" cap="none" spc="0" baseline="0" dirty="0">
                <a:solidFill>
                  <a:srgbClr val="4F8DAA"/>
                </a:solidFill>
                <a:effectLst/>
                <a:latin typeface="Calibri"/>
                <a:ea typeface="Calibri"/>
                <a:cs typeface="Calibri"/>
              </a:rPr>
              <a:t>ABD Menkul Kıymetler Borsası Komisyonu'nun (SEC) kısa beyanı</a:t>
            </a:r>
          </a:p>
        </p:txBody>
      </p:sp>
      <p:sp>
        <p:nvSpPr>
          <p:cNvPr id="10" name="TextBox 9">
            <a:extLst>
              <a:ext uri="{FF2B5EF4-FFF2-40B4-BE49-F238E27FC236}">
                <a16:creationId xmlns:a16="http://schemas.microsoft.com/office/drawing/2014/main" id="{AE75E24A-85CB-4582-B0C3-E12BF48F97ED}"/>
              </a:ext>
            </a:extLst>
          </p:cNvPr>
          <p:cNvSpPr txBox="1"/>
          <p:nvPr/>
        </p:nvSpPr>
        <p:spPr>
          <a:xfrm>
            <a:off x="659477" y="2263639"/>
            <a:ext cx="11571317" cy="3872484"/>
          </a:xfrm>
          <a:prstGeom prst="rect">
            <a:avLst/>
          </a:prstGeom>
          <a:solidFill>
            <a:schemeClr val="bg1"/>
          </a:solidFill>
        </p:spPr>
        <p:txBody>
          <a:bodyPr wrap="square" rtlCol="0">
            <a:spAutoFit/>
          </a:bodyPr>
          <a:lstStyle/>
          <a:p>
            <a:r>
              <a:rPr lang="tr-TR" sz="2500" b="0" i="0" strike="noStrike" cap="none" spc="0" baseline="0" dirty="0">
                <a:solidFill>
                  <a:srgbClr val="000000"/>
                </a:solidFill>
                <a:effectLst/>
                <a:latin typeface="Calibri"/>
                <a:ea typeface="Calibri"/>
                <a:cs typeface="Calibri"/>
              </a:rPr>
              <a:t>Bu toplantı, yürürlükteki herhangi bir rekabet yasasını ihlal edebilecek herhangi bir tartışma, faaliyet veya davranışla sonuçlanmayacaktır. Örnek olarak, katılımcılar fiyatlandırma, pazarlama ve reklam stratejisi, maliyetler ve gelirler, satın alma stratejisi, tedarik koşulları, ticaret programları veya dağıtım stratejisi dahil olmak üzere üçüncü taraflarla ticaret hüküm ve koşullarıyla ilgili bilgiler dahil olmak üzere ticari bakımdan hassas hiçbir bilgiyi tartışmayacak, iletmeyecek veya değiş tokuş etmeyecektir. </a:t>
            </a:r>
          </a:p>
          <a:p>
            <a:r>
              <a:rPr lang="tr-TR" sz="2500" b="0" i="0" strike="noStrike" cap="none" spc="0" baseline="0" dirty="0">
                <a:solidFill>
                  <a:srgbClr val="000000"/>
                </a:solidFill>
                <a:effectLst/>
                <a:latin typeface="Calibri"/>
                <a:ea typeface="Calibri"/>
                <a:cs typeface="Calibri"/>
              </a:rPr>
              <a:t>Herhangi bir katılımcının önerilen tartışmanın yasallığına ilişkin sorusu varsa, konunun tartışılması derhal durdurulmalı ve katılımcı kendi hukuk danışmanına başvurmalıdır. PepsiCo, bu bildirimi göz ardı eden katılımcıların eylemlerinden sorumlu değildir. </a:t>
            </a:r>
          </a:p>
        </p:txBody>
      </p:sp>
    </p:spTree>
    <p:extLst>
      <p:ext uri="{BB962C8B-B14F-4D97-AF65-F5344CB8AC3E}">
        <p14:creationId xmlns:p14="http://schemas.microsoft.com/office/powerpoint/2010/main" val="340192394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5A8DC92-3687-27EC-7F94-04A9FB6E1C41}"/>
              </a:ext>
            </a:extLst>
          </p:cNvPr>
          <p:cNvGraphicFramePr>
            <a:graphicFrameLocks noChangeAspect="1"/>
          </p:cNvGraphicFramePr>
          <p:nvPr>
            <p:custDataLst>
              <p:tags r:id="rId1"/>
            </p:custDataLst>
            <p:extLst>
              <p:ext uri="{D42A27DB-BD31-4B8C-83A1-F6EECF244321}">
                <p14:modId xmlns:p14="http://schemas.microsoft.com/office/powerpoint/2010/main" val="85914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F5A8DC92-3687-27EC-7F94-04A9FB6E1C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b) Kapsam 2 faaliyet verilerini toplama</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3062383156"/>
              </p:ext>
            </p:extLst>
          </p:nvPr>
        </p:nvGraphicFramePr>
        <p:xfrm>
          <a:off x="606425" y="1839475"/>
          <a:ext cx="10972799" cy="4551164"/>
        </p:xfrm>
        <a:graphic>
          <a:graphicData uri="http://schemas.openxmlformats.org/drawingml/2006/table">
            <a:tbl>
              <a:tblPr firstRow="1" bandRow="1">
                <a:tableStyleId>{5C22544A-7EE6-4342-B048-85BDC9FD1C3A}</a:tableStyleId>
              </a:tblPr>
              <a:tblGrid>
                <a:gridCol w="3070225">
                  <a:extLst>
                    <a:ext uri="{9D8B030D-6E8A-4147-A177-3AD203B41FA5}">
                      <a16:colId xmlns:a16="http://schemas.microsoft.com/office/drawing/2014/main" val="3378445894"/>
                    </a:ext>
                  </a:extLst>
                </a:gridCol>
                <a:gridCol w="3810000">
                  <a:extLst>
                    <a:ext uri="{9D8B030D-6E8A-4147-A177-3AD203B41FA5}">
                      <a16:colId xmlns:a16="http://schemas.microsoft.com/office/drawing/2014/main" val="3140351158"/>
                    </a:ext>
                  </a:extLst>
                </a:gridCol>
                <a:gridCol w="4092574">
                  <a:extLst>
                    <a:ext uri="{9D8B030D-6E8A-4147-A177-3AD203B41FA5}">
                      <a16:colId xmlns:a16="http://schemas.microsoft.com/office/drawing/2014/main" val="1385693982"/>
                    </a:ext>
                  </a:extLst>
                </a:gridCol>
              </a:tblGrid>
              <a:tr h="363221">
                <a:tc>
                  <a:txBody>
                    <a:bodyPr/>
                    <a:lstStyle/>
                    <a:p>
                      <a:r>
                        <a:rPr lang="tr-TR" sz="1800" b="1" i="0" strike="noStrike" cap="none" spc="0" baseline="0">
                          <a:solidFill>
                            <a:srgbClr val="FFFFFF"/>
                          </a:solidFill>
                          <a:effectLst/>
                          <a:latin typeface="Calibri"/>
                          <a:ea typeface="Calibri"/>
                          <a:cs typeface="Calibri"/>
                        </a:rPr>
                        <a:t>Emisyon türü</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tr-TR" sz="1800" b="1" i="0" strike="noStrike" cap="none" spc="0" baseline="0">
                          <a:solidFill>
                            <a:srgbClr val="FFFFFF"/>
                          </a:solidFill>
                          <a:effectLst/>
                          <a:latin typeface="Calibri"/>
                          <a:ea typeface="Calibri"/>
                          <a:cs typeface="Calibri"/>
                        </a:rPr>
                        <a:t>Kaynak kontrol listesi</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r>
                        <a:rPr lang="tr-TR" sz="1800" b="1" i="0" strike="noStrike" cap="none" spc="0" baseline="0">
                          <a:solidFill>
                            <a:srgbClr val="FFFFFF"/>
                          </a:solidFill>
                          <a:effectLst/>
                          <a:latin typeface="Calibri"/>
                          <a:ea typeface="Calibri"/>
                          <a:cs typeface="Calibri"/>
                        </a:rPr>
                        <a:t>Veriler nerede bulunur</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72541">
                <a:tc>
                  <a:txBody>
                    <a:bodyPr/>
                    <a:lstStyle/>
                    <a:p>
                      <a:r>
                        <a:rPr lang="tr-TR" sz="1600" b="0" i="0" strike="noStrike" cap="none" spc="0" baseline="0">
                          <a:solidFill>
                            <a:srgbClr val="000000"/>
                          </a:solidFill>
                          <a:effectLst/>
                          <a:latin typeface="Calibri"/>
                          <a:ea typeface="Calibri"/>
                          <a:cs typeface="Calibri"/>
                        </a:rPr>
                        <a:t>Satın Alınan Elektrik</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buFont typeface="Wingdings" pitchFamily="2" charset="2"/>
                        <a:buChar char="ü"/>
                      </a:pPr>
                      <a:r>
                        <a:rPr lang="tr-TR" sz="1600" b="0" i="0" strike="noStrike" cap="none" spc="0" baseline="0">
                          <a:solidFill>
                            <a:srgbClr val="000000"/>
                          </a:solidFill>
                          <a:effectLst/>
                          <a:latin typeface="Calibri"/>
                          <a:ea typeface="Calibri"/>
                          <a:cs typeface="Calibri"/>
                        </a:rPr>
                        <a:t>Tesislerinizi işletmek için kullanılan yıllık toplam kWh elektrik</a:t>
                      </a: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indent="0">
                        <a:buFont typeface="Wingdings" pitchFamily="2" charset="2"/>
                        <a:buNone/>
                      </a:pPr>
                      <a:r>
                        <a:rPr lang="tr-TR" sz="1600" b="0" i="0" strike="noStrike" cap="none" spc="0" baseline="0">
                          <a:solidFill>
                            <a:srgbClr val="000000"/>
                          </a:solidFill>
                          <a:effectLst/>
                          <a:latin typeface="Calibri"/>
                          <a:ea typeface="Calibri"/>
                          <a:cs typeface="Calibri"/>
                        </a:rPr>
                        <a:t>Hizmet makbuzlarını veya faturalarını takip etmek için aşağıdaki departmanlara danışın</a:t>
                      </a:r>
                    </a:p>
                    <a:p>
                      <a:pPr marL="285750" indent="-285750">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Muhasebe</a:t>
                      </a:r>
                    </a:p>
                    <a:p>
                      <a:pPr marL="285750" indent="-285750">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Emlak</a:t>
                      </a:r>
                    </a:p>
                    <a:p>
                      <a:pPr marL="285750" indent="-285750">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Faaliyet</a:t>
                      </a:r>
                    </a:p>
                    <a:p>
                      <a:pPr marL="285750" indent="-285750">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Satın alma</a:t>
                      </a:r>
                    </a:p>
                    <a:p>
                      <a:pPr marL="0" indent="0">
                        <a:spcBef>
                          <a:spcPts val="400"/>
                        </a:spcBef>
                        <a:spcAft>
                          <a:spcPts val="600"/>
                        </a:spcAft>
                        <a:buFont typeface="Wingdings" pitchFamily="2" charset="2"/>
                        <a:buNone/>
                      </a:pPr>
                      <a:r>
                        <a:rPr lang="tr-TR" sz="1600" b="0" i="0" strike="noStrike" cap="none" spc="0" baseline="0">
                          <a:solidFill>
                            <a:srgbClr val="000000"/>
                          </a:solidFill>
                          <a:effectLst/>
                          <a:latin typeface="Calibri"/>
                          <a:ea typeface="Calibri"/>
                          <a:cs typeface="Calibri"/>
                        </a:rPr>
                        <a:t>Kiralanan mülkler için kiralayana danışın</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3212863">
                <a:tc>
                  <a:txBody>
                    <a:bodyPr/>
                    <a:lstStyle/>
                    <a:p>
                      <a:r>
                        <a:rPr lang="tr-TR" sz="1600" b="0" i="0" strike="noStrike" cap="none" spc="0" baseline="0">
                          <a:solidFill>
                            <a:srgbClr val="000000"/>
                          </a:solidFill>
                          <a:effectLst/>
                          <a:latin typeface="Calibri"/>
                          <a:ea typeface="Calibri"/>
                          <a:cs typeface="Calibri"/>
                        </a:rPr>
                        <a:t>Satın Alınan Isı, Buhar veya Soğutma</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buFont typeface="Wingdings" pitchFamily="2" charset="2"/>
                        <a:buNone/>
                      </a:pPr>
                      <a:r>
                        <a:rPr lang="tr-TR" sz="1600" b="1" i="0" strike="noStrike" cap="none" spc="0" baseline="0">
                          <a:solidFill>
                            <a:srgbClr val="0065E5"/>
                          </a:solidFill>
                          <a:effectLst/>
                          <a:latin typeface="Calibri"/>
                          <a:ea typeface="Calibri"/>
                          <a:cs typeface="Calibri"/>
                        </a:rPr>
                        <a:t>Aşağıdakilerle ilişkili yıllık kullanım</a:t>
                      </a:r>
                    </a:p>
                    <a:p>
                      <a:pPr marL="285750" indent="-285750" algn="l" defTabSz="914400" rtl="0" eaLnBrk="1" latinLnBrk="0" hangingPunct="1">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Isıtıcılar, radyatörler, su ısıtıcıları</a:t>
                      </a:r>
                    </a:p>
                    <a:p>
                      <a:pPr marL="285750" indent="-285750" algn="l" defTabSz="914400" rtl="0" eaLnBrk="1" latinLnBrk="0" hangingPunct="1">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Klimalar</a:t>
                      </a:r>
                    </a:p>
                    <a:p>
                      <a:pPr marL="285750" indent="-285750" algn="l" defTabSz="914400" rtl="0" eaLnBrk="1" latinLnBrk="0" hangingPunct="1">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Soğutulmuş su</a:t>
                      </a:r>
                      <a:endParaRPr lang="en-US" sz="1600">
                        <a:solidFill>
                          <a:schemeClr val="accent5"/>
                        </a:solidFill>
                      </a:endParaRPr>
                    </a:p>
                    <a:p>
                      <a:pPr marL="0" indent="0" algn="l" defTabSz="914400" rtl="0" eaLnBrk="1" latinLnBrk="0" hangingPunct="1">
                        <a:spcBef>
                          <a:spcPts val="1800"/>
                        </a:spcBef>
                        <a:buFont typeface="Wingdings" pitchFamily="2" charset="2"/>
                        <a:buNone/>
                      </a:pPr>
                      <a:r>
                        <a:rPr lang="tr-TR" sz="1600" b="1" i="0" strike="noStrike" cap="none" spc="0" baseline="0">
                          <a:solidFill>
                            <a:srgbClr val="0065E5"/>
                          </a:solidFill>
                          <a:effectLst/>
                          <a:latin typeface="Calibri"/>
                          <a:ea typeface="Calibri"/>
                          <a:cs typeface="Calibri"/>
                        </a:rPr>
                        <a:t>Hesaplama yöntemleri için aşağıdakilerin kullanımı gerekebilir</a:t>
                      </a:r>
                    </a:p>
                    <a:p>
                      <a:pPr marL="285750" indent="-285750" algn="l" defTabSz="914400" rtl="0" eaLnBrk="1" latinLnBrk="0" hangingPunct="1">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Kiralık alanın alanı (ör. fit kare)</a:t>
                      </a:r>
                    </a:p>
                    <a:p>
                      <a:pPr marL="285750" indent="-285750" algn="l" defTabSz="914400" rtl="0" eaLnBrk="1" latinLnBrk="0" hangingPunct="1">
                        <a:spcBef>
                          <a:spcPts val="400"/>
                        </a:spcBef>
                        <a:spcAft>
                          <a:spcPts val="600"/>
                        </a:spcAft>
                        <a:buFont typeface="Wingdings" pitchFamily="2" charset="2"/>
                        <a:buChar char="ü"/>
                      </a:pPr>
                      <a:r>
                        <a:rPr lang="tr-TR" sz="1600" b="0" i="0" strike="noStrike" cap="none" spc="0" baseline="0">
                          <a:solidFill>
                            <a:srgbClr val="000000"/>
                          </a:solidFill>
                          <a:effectLst/>
                          <a:latin typeface="Calibri"/>
                          <a:ea typeface="Calibri"/>
                          <a:cs typeface="Calibri"/>
                        </a:rPr>
                        <a:t>Ortalama yoğunluk faktörleri</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285750" indent="-285750">
                        <a:buFont typeface="Wingdings" pitchFamily="2" charset="2"/>
                        <a:buChar char="ü"/>
                      </a:pPr>
                      <a:r>
                        <a:rPr lang="en-US" sz="1600"/>
                        <a:t>Invoices for fuel purchases for your fleet</a:t>
                      </a:r>
                    </a:p>
                    <a:p>
                      <a:pPr marL="285750" indent="-285750">
                        <a:buFont typeface="Wingdings" pitchFamily="2" charset="2"/>
                        <a:buChar char="ü"/>
                      </a:pPr>
                      <a:r>
                        <a:rPr lang="en-US" sz="1600"/>
                        <a:t>Data on vehicle mileage multiplied by reported fuel economy rate to estimate total fuel consumption</a:t>
                      </a:r>
                    </a:p>
                    <a:p>
                      <a:pPr marL="285750" indent="-285750">
                        <a:buFont typeface="Wingdings" pitchFamily="2" charset="2"/>
                        <a:buChar char="ü"/>
                      </a:pPr>
                      <a:r>
                        <a:rPr lang="en-US" sz="1600" err="1"/>
                        <a:t>Tonne-km by vehicle typ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bl>
          </a:graphicData>
        </a:graphic>
      </p:graphicFrame>
      <p:sp>
        <p:nvSpPr>
          <p:cNvPr id="5" name="Rectangle 4">
            <a:extLst>
              <a:ext uri="{FF2B5EF4-FFF2-40B4-BE49-F238E27FC236}">
                <a16:creationId xmlns:a16="http://schemas.microsoft.com/office/drawing/2014/main" id="{E4D5A66A-0EC4-5B4F-7DA0-E87717F6D995}"/>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r>
              <a:rPr lang="tr-TR" sz="2000" b="1" i="0" strike="noStrike" cap="none" spc="0" baseline="0">
                <a:solidFill>
                  <a:srgbClr val="0065E5"/>
                </a:solidFill>
                <a:effectLst/>
                <a:latin typeface="Calibri"/>
                <a:ea typeface="Calibri"/>
                <a:cs typeface="Calibri"/>
              </a:rPr>
              <a:t>Aşağıdaki emisyon kaynakları kontrol listesini inceleyin, şirketiniz için geçerli olanların bir listesini oluşturun ve ilgili verileri toplayın</a:t>
            </a:r>
          </a:p>
        </p:txBody>
      </p:sp>
    </p:spTree>
    <p:extLst>
      <p:ext uri="{BB962C8B-B14F-4D97-AF65-F5344CB8AC3E}">
        <p14:creationId xmlns:p14="http://schemas.microsoft.com/office/powerpoint/2010/main" val="400311081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A2EDB19C-67BC-19F4-BF66-37F3B4976D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3" name="Object 52" hidden="1">
                        <a:extLst>
                          <a:ext uri="{FF2B5EF4-FFF2-40B4-BE49-F238E27FC236}">
                            <a16:creationId xmlns:a16="http://schemas.microsoft.com/office/drawing/2014/main" id="{A2EDB19C-67BC-19F4-BF66-37F3B4976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TextBox 54">
            <a:hlinkClick r:id="rId6"/>
            <a:extLst>
              <a:ext uri="{FF2B5EF4-FFF2-40B4-BE49-F238E27FC236}">
                <a16:creationId xmlns:a16="http://schemas.microsoft.com/office/drawing/2014/main" id="{9C8C341F-E72E-CB75-1AE3-EC312BC6505E}"/>
              </a:ext>
            </a:extLst>
          </p:cNvPr>
          <p:cNvSpPr txBox="1"/>
          <p:nvPr/>
        </p:nvSpPr>
        <p:spPr>
          <a:xfrm>
            <a:off x="609231" y="3509208"/>
            <a:ext cx="3568253" cy="1004426"/>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tr-TR" sz="1300" b="1" i="0" strike="noStrike" cap="none" spc="0" baseline="0">
                <a:solidFill>
                  <a:srgbClr val="000000"/>
                </a:solidFill>
                <a:effectLst/>
                <a:latin typeface="Calibri"/>
                <a:ea typeface="Calibri"/>
                <a:cs typeface="Calibri"/>
              </a:rPr>
              <a:t>Uluslararası Enerji Ajansı (IEA)</a:t>
            </a:r>
          </a:p>
          <a:p>
            <a:pPr marL="0" marR="0">
              <a:spcBef>
                <a:spcPct val="0"/>
              </a:spcBef>
              <a:spcAft>
                <a:spcPct val="0"/>
              </a:spcAft>
            </a:pPr>
            <a:r>
              <a:rPr lang="tr-TR" sz="1300" b="1" i="0" strike="noStrike" cap="none" spc="0" baseline="0">
                <a:solidFill>
                  <a:srgbClr val="0065E5"/>
                </a:solidFill>
                <a:effectLst/>
                <a:latin typeface="Calibri"/>
                <a:ea typeface="Calibri"/>
                <a:cs typeface="Calibri"/>
                <a:hlinkClick r:id="rId6" history="0"/>
              </a:rPr>
              <a:t>Buradan</a:t>
            </a:r>
            <a:r>
              <a:rPr lang="tr-TR" sz="1300" b="0" i="0" strike="noStrike" cap="none" spc="0" baseline="0">
                <a:solidFill>
                  <a:srgbClr val="000000"/>
                </a:solidFill>
                <a:effectLst/>
                <a:latin typeface="Calibri"/>
                <a:ea typeface="Calibri"/>
                <a:cs typeface="Calibri"/>
              </a:rPr>
              <a:t> erişin</a:t>
            </a:r>
            <a:endParaRPr lang="en-US" sz="1300" b="1">
              <a:solidFill>
                <a:schemeClr val="accent5"/>
              </a:solidFill>
              <a:effectLst/>
            </a:endParaRPr>
          </a:p>
        </p:txBody>
      </p:sp>
      <p:sp>
        <p:nvSpPr>
          <p:cNvPr id="50" name="TextBox 49">
            <a:hlinkClick r:id="rId7"/>
            <a:extLst>
              <a:ext uri="{FF2B5EF4-FFF2-40B4-BE49-F238E27FC236}">
                <a16:creationId xmlns:a16="http://schemas.microsoft.com/office/drawing/2014/main" id="{5DE9F04E-1515-5C46-23BA-351B9EA34D25}"/>
              </a:ext>
            </a:extLst>
          </p:cNvPr>
          <p:cNvSpPr txBox="1"/>
          <p:nvPr/>
        </p:nvSpPr>
        <p:spPr>
          <a:xfrm>
            <a:off x="4298938" y="3509208"/>
            <a:ext cx="3585420" cy="1704818"/>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tr-TR" sz="1300" b="1" i="0" strike="noStrike" cap="none" spc="0" baseline="0">
                <a:solidFill>
                  <a:srgbClr val="000000"/>
                </a:solidFill>
                <a:effectLst/>
                <a:latin typeface="Calibri"/>
                <a:ea typeface="Calibri"/>
                <a:cs typeface="Calibri"/>
              </a:rPr>
              <a:t>Çevre Koruma Ajansı (EPA) — Emisyonlar ve Üretim Kaynağı Entegre Veri Tabanı (eGRlD) </a:t>
            </a:r>
            <a:endParaRPr lang="en-US" sz="1300">
              <a:effectLst/>
            </a:endParaRPr>
          </a:p>
          <a:p>
            <a:pPr marL="0" marR="0">
              <a:spcBef>
                <a:spcPct val="0"/>
              </a:spcBef>
              <a:spcAft>
                <a:spcPct val="0"/>
              </a:spcAft>
            </a:pPr>
            <a:r>
              <a:rPr lang="tr-TR" sz="1300" b="1" i="0" strike="noStrike" cap="none" spc="0" baseline="0">
                <a:solidFill>
                  <a:srgbClr val="0065E5"/>
                </a:solidFill>
                <a:effectLst/>
                <a:latin typeface="Calibri"/>
                <a:ea typeface="Calibri"/>
                <a:cs typeface="Calibri"/>
                <a:hlinkClick r:id="rId7" history="0"/>
              </a:rPr>
              <a:t>Buradan</a:t>
            </a:r>
            <a:r>
              <a:rPr lang="tr-TR" sz="1300" b="0" i="0" strike="noStrike" cap="none" spc="0" baseline="0">
                <a:solidFill>
                  <a:srgbClr val="000000"/>
                </a:solidFill>
                <a:effectLst/>
                <a:latin typeface="Calibri"/>
                <a:ea typeface="Calibri"/>
                <a:cs typeface="Calibri"/>
              </a:rPr>
              <a:t> erişin</a:t>
            </a:r>
          </a:p>
          <a:p>
            <a:pPr marL="0" marR="0">
              <a:spcBef>
                <a:spcPct val="0"/>
              </a:spcBef>
              <a:spcAft>
                <a:spcPct val="0"/>
              </a:spcAft>
            </a:pPr>
            <a:r>
              <a:rPr lang="tr-TR" sz="1100" b="0" i="0" strike="noStrike" cap="none" spc="0" baseline="0">
                <a:solidFill>
                  <a:srgbClr val="000000"/>
                </a:solidFill>
                <a:effectLst/>
                <a:latin typeface="Calibri"/>
                <a:ea typeface="Calibri"/>
                <a:cs typeface="Calibri"/>
              </a:rPr>
              <a:t>(Tıklanacak PDF veya Excel Çalışma Kitabının başlığı: </a:t>
            </a:r>
          </a:p>
          <a:p>
            <a:pPr marL="0" marR="0">
              <a:spcBef>
                <a:spcPct val="0"/>
              </a:spcBef>
              <a:spcAft>
                <a:spcPct val="0"/>
              </a:spcAft>
            </a:pPr>
            <a:r>
              <a:rPr lang="tr-TR" sz="1100" b="0" i="0" strike="noStrike" cap="none" spc="0" baseline="0">
                <a:solidFill>
                  <a:srgbClr val="000000"/>
                </a:solidFill>
                <a:effectLst/>
                <a:latin typeface="Calibri"/>
                <a:ea typeface="Calibri"/>
                <a:cs typeface="Calibri"/>
              </a:rPr>
              <a:t>Sera Gazı Emisyon Faktörleri Merkezi) </a:t>
            </a:r>
          </a:p>
          <a:p>
            <a:pPr marL="0" marR="0">
              <a:spcBef>
                <a:spcPct val="0"/>
              </a:spcBef>
              <a:spcAft>
                <a:spcPct val="0"/>
              </a:spcAft>
            </a:pPr>
            <a:r>
              <a:rPr lang="tr-TR" sz="1100" b="0" i="0" strike="noStrike" cap="none" spc="0" baseline="0">
                <a:solidFill>
                  <a:srgbClr val="000000"/>
                </a:solidFill>
                <a:effectLst/>
                <a:latin typeface="Calibri"/>
                <a:ea typeface="Calibri"/>
                <a:cs typeface="Calibri"/>
              </a:rPr>
              <a:t>Tablo 6 satın alınan elektrik içindir </a:t>
            </a:r>
          </a:p>
          <a:p>
            <a:pPr marL="0" marR="0">
              <a:spcBef>
                <a:spcPct val="0"/>
              </a:spcBef>
              <a:spcAft>
                <a:spcPct val="0"/>
              </a:spcAft>
            </a:pPr>
            <a:r>
              <a:rPr lang="tr-TR" sz="1100" b="0" i="0" strike="noStrike" cap="none" spc="0" baseline="0">
                <a:solidFill>
                  <a:srgbClr val="000000"/>
                </a:solidFill>
                <a:effectLst/>
                <a:latin typeface="Calibri"/>
                <a:ea typeface="Calibri"/>
                <a:cs typeface="Calibri"/>
              </a:rPr>
              <a:t>Tablo 7 satın alınan buhar ve ısı içindir </a:t>
            </a:r>
          </a:p>
          <a:p>
            <a:pPr marL="0" marR="0">
              <a:spcBef>
                <a:spcPct val="0"/>
              </a:spcBef>
              <a:spcAft>
                <a:spcPct val="0"/>
              </a:spcAft>
            </a:pPr>
            <a:endParaRPr lang="en-US" sz="1300">
              <a:effectLst/>
            </a:endParaRPr>
          </a:p>
        </p:txBody>
      </p:sp>
      <p:sp>
        <p:nvSpPr>
          <p:cNvPr id="51" name="TextBox 50">
            <a:extLst>
              <a:ext uri="{FF2B5EF4-FFF2-40B4-BE49-F238E27FC236}">
                <a16:creationId xmlns:a16="http://schemas.microsoft.com/office/drawing/2014/main" id="{FDBFC36B-831F-0B39-A0D7-7267D7D34BC0}"/>
              </a:ext>
            </a:extLst>
          </p:cNvPr>
          <p:cNvSpPr txBox="1"/>
          <p:nvPr/>
        </p:nvSpPr>
        <p:spPr>
          <a:xfrm>
            <a:off x="4301065" y="5262688"/>
            <a:ext cx="3583293" cy="468238"/>
          </a:xfrm>
          <a:prstGeom prst="rect">
            <a:avLst/>
          </a:prstGeom>
          <a:solidFill>
            <a:schemeClr val="accent4">
              <a:lumMod val="20000"/>
              <a:lumOff val="80000"/>
            </a:schemeClr>
          </a:solidFill>
        </p:spPr>
        <p:txBody>
          <a:bodyPr wrap="square" rtlCol="0">
            <a:noAutofit/>
          </a:bodyPr>
          <a:lstStyle/>
          <a:p>
            <a:pPr marL="0" marR="0">
              <a:spcBef>
                <a:spcPct val="0"/>
              </a:spcBef>
              <a:spcAft>
                <a:spcPct val="0"/>
              </a:spcAft>
            </a:pPr>
            <a:r>
              <a:rPr lang="tr-TR" sz="1300" b="0" i="0" strike="noStrike" cap="none" spc="0" baseline="0">
                <a:solidFill>
                  <a:srgbClr val="000000"/>
                </a:solidFill>
                <a:effectLst/>
                <a:latin typeface="Calibri"/>
                <a:ea typeface="Calibri"/>
                <a:cs typeface="Calibri"/>
              </a:rPr>
              <a:t>Şirketiniz Amerika Birleşik Devletleri'nde bulunuyorsa </a:t>
            </a:r>
            <a:br>
              <a:rPr sz="1300"/>
            </a:br>
            <a:r>
              <a:rPr lang="tr-TR" sz="1300" b="0" i="0" strike="noStrike" cap="none" spc="0" baseline="0">
                <a:solidFill>
                  <a:srgbClr val="000000"/>
                </a:solidFill>
                <a:effectLst/>
                <a:latin typeface="Calibri"/>
                <a:ea typeface="Calibri"/>
                <a:cs typeface="Calibri"/>
              </a:rPr>
              <a:t>bunu kullanın. </a:t>
            </a: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c) Kapsam 2 emisyon faktörlerinin toplanması</a:t>
            </a:r>
          </a:p>
        </p:txBody>
      </p:sp>
      <p:sp>
        <p:nvSpPr>
          <p:cNvPr id="13" name="TextBox 12">
            <a:extLst>
              <a:ext uri="{FF2B5EF4-FFF2-40B4-BE49-F238E27FC236}">
                <a16:creationId xmlns:a16="http://schemas.microsoft.com/office/drawing/2014/main" id="{CDA200DE-BDFA-4481-A887-30A3DFF2FAD3}"/>
              </a:ext>
            </a:extLst>
          </p:cNvPr>
          <p:cNvSpPr txBox="1"/>
          <p:nvPr/>
        </p:nvSpPr>
        <p:spPr>
          <a:xfrm>
            <a:off x="609231" y="4562271"/>
            <a:ext cx="3568252" cy="1168653"/>
          </a:xfrm>
          <a:prstGeom prst="rect">
            <a:avLst/>
          </a:prstGeom>
          <a:solidFill>
            <a:schemeClr val="accent4">
              <a:lumMod val="20000"/>
              <a:lumOff val="80000"/>
            </a:schemeClr>
          </a:solidFill>
        </p:spPr>
        <p:txBody>
          <a:bodyPr wrap="square" rtlCol="0"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tr-TR" sz="1300" b="0" i="0" strike="noStrike" cap="none" spc="0" baseline="0">
                <a:solidFill>
                  <a:srgbClr val="000000"/>
                </a:solidFill>
                <a:effectLst/>
                <a:latin typeface="Calibri"/>
                <a:ea typeface="Calibri"/>
                <a:cs typeface="Calibri"/>
              </a:rPr>
              <a:t>Bunu ABD veya Birleşik Krallık dışındaki tüm tesisler için kullanın. Bu, elektrik ve ısı üretimi için ulusal emisyon faktörlerine sahip en kapsamlı veri tabanıdır. (Bu emisyon faktörlerine erişimle ilişkili bir ücret olduğunu unutmayın).</a:t>
            </a:r>
            <a:endParaRPr kumimoji="0" lang="en-US" sz="1300" b="0" i="0" u="none" strike="noStrike" kern="1200" cap="none" spc="0" normalizeH="0" baseline="0" noProof="0">
              <a:ln>
                <a:noFill/>
              </a:ln>
              <a:effectLst/>
              <a:uLnTx/>
              <a:uFillTx/>
              <a:ea typeface="+mn-ea"/>
              <a:cs typeface="+mn-cs"/>
            </a:endParaRPr>
          </a:p>
        </p:txBody>
      </p:sp>
      <p:sp>
        <p:nvSpPr>
          <p:cNvPr id="19" name="TextBox 18">
            <a:hlinkClick r:id="rId8"/>
            <a:extLst>
              <a:ext uri="{FF2B5EF4-FFF2-40B4-BE49-F238E27FC236}">
                <a16:creationId xmlns:a16="http://schemas.microsoft.com/office/drawing/2014/main" id="{74243E43-E9A5-D76E-42FB-4172A2E9666A}"/>
              </a:ext>
            </a:extLst>
          </p:cNvPr>
          <p:cNvSpPr txBox="1"/>
          <p:nvPr/>
        </p:nvSpPr>
        <p:spPr>
          <a:xfrm>
            <a:off x="8008162" y="3509208"/>
            <a:ext cx="3571063" cy="1704817"/>
          </a:xfrm>
          <a:prstGeom prst="rect">
            <a:avLst/>
          </a:prstGeom>
          <a:solidFill>
            <a:schemeClr val="accent5">
              <a:lumMod val="20000"/>
              <a:lumOff val="80000"/>
            </a:schemeClr>
          </a:solidFill>
        </p:spPr>
        <p:txBody>
          <a:bodyPr wrap="square">
            <a:noAutofit/>
          </a:bodyPr>
          <a:lstStyle/>
          <a:p>
            <a:pPr marL="0" marR="0">
              <a:spcBef>
                <a:spcPct val="0"/>
              </a:spcBef>
              <a:spcAft>
                <a:spcPts val="300"/>
              </a:spcAft>
            </a:pPr>
            <a:r>
              <a:rPr lang="tr-TR" sz="1300" b="1" i="0" strike="noStrike" cap="none" spc="0" baseline="0">
                <a:solidFill>
                  <a:srgbClr val="000000"/>
                </a:solidFill>
                <a:effectLst/>
                <a:latin typeface="Calibri"/>
                <a:ea typeface="Calibri"/>
                <a:cs typeface="Calibri"/>
              </a:rPr>
              <a:t>Birleşik Krallık Çevre Gıda ve Kırsal İşler Departmanı (DEFRA) </a:t>
            </a:r>
          </a:p>
          <a:p>
            <a:pPr marL="0" marR="0">
              <a:spcBef>
                <a:spcPct val="0"/>
              </a:spcBef>
              <a:spcAft>
                <a:spcPct val="0"/>
              </a:spcAft>
            </a:pPr>
            <a:r>
              <a:rPr lang="tr-TR" sz="1300" b="1" i="0" strike="noStrike" cap="none" spc="0" baseline="0">
                <a:solidFill>
                  <a:srgbClr val="0065E5"/>
                </a:solidFill>
                <a:effectLst/>
                <a:latin typeface="Calibri"/>
                <a:ea typeface="Calibri"/>
                <a:cs typeface="Calibri"/>
                <a:hlinkClick r:id="rId8" history="0"/>
              </a:rPr>
              <a:t>Buradan</a:t>
            </a:r>
            <a:r>
              <a:rPr lang="tr-TR" sz="1300" b="0" i="0" strike="noStrike" cap="none" spc="0" baseline="0">
                <a:solidFill>
                  <a:srgbClr val="0065E5"/>
                </a:solidFill>
                <a:effectLst/>
                <a:latin typeface="Calibri"/>
                <a:ea typeface="Calibri"/>
                <a:cs typeface="Calibri"/>
              </a:rPr>
              <a:t> </a:t>
            </a:r>
            <a:r>
              <a:rPr lang="tr-TR" sz="1300" b="0" i="0" strike="noStrike" cap="none" spc="0" baseline="0">
                <a:solidFill>
                  <a:srgbClr val="000000"/>
                </a:solidFill>
                <a:effectLst/>
                <a:latin typeface="Calibri"/>
                <a:ea typeface="Calibri"/>
                <a:cs typeface="Calibri"/>
              </a:rPr>
              <a:t>erişin</a:t>
            </a:r>
          </a:p>
        </p:txBody>
      </p:sp>
      <p:sp>
        <p:nvSpPr>
          <p:cNvPr id="21" name="TextBox 20">
            <a:extLst>
              <a:ext uri="{FF2B5EF4-FFF2-40B4-BE49-F238E27FC236}">
                <a16:creationId xmlns:a16="http://schemas.microsoft.com/office/drawing/2014/main" id="{090095CC-99A7-800D-450F-4EC8AAD88F02}"/>
              </a:ext>
            </a:extLst>
          </p:cNvPr>
          <p:cNvSpPr txBox="1"/>
          <p:nvPr/>
        </p:nvSpPr>
        <p:spPr>
          <a:xfrm>
            <a:off x="8008162" y="5262688"/>
            <a:ext cx="3571063" cy="468238"/>
          </a:xfrm>
          <a:prstGeom prst="rect">
            <a:avLst/>
          </a:prstGeom>
          <a:solidFill>
            <a:schemeClr val="accent4">
              <a:lumMod val="20000"/>
              <a:lumOff val="80000"/>
            </a:schemeClr>
          </a:solidFill>
        </p:spPr>
        <p:txBody>
          <a:bodyPr wrap="square" rtlCol="0" anchor="ctr">
            <a:noAutofit/>
          </a:bodyPr>
          <a:lstStyle/>
          <a:p>
            <a:r>
              <a:rPr lang="tr-TR" sz="1300" b="0" i="0" strike="noStrike" cap="none" spc="0" baseline="0">
                <a:solidFill>
                  <a:srgbClr val="000000"/>
                </a:solidFill>
                <a:effectLst/>
                <a:latin typeface="Calibri"/>
                <a:ea typeface="Calibri"/>
                <a:cs typeface="Calibri"/>
              </a:rPr>
              <a:t>Kuruluşunuz İngiltere'deyse bunu kullanın </a:t>
            </a:r>
          </a:p>
        </p:txBody>
      </p:sp>
      <p:sp>
        <p:nvSpPr>
          <p:cNvPr id="22" name="Arrow: Bent 21">
            <a:extLst>
              <a:ext uri="{FF2B5EF4-FFF2-40B4-BE49-F238E27FC236}">
                <a16:creationId xmlns:a16="http://schemas.microsoft.com/office/drawing/2014/main" id="{8A7F42BE-1AF6-0D51-4A4E-1D93E573BFDB}"/>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D2101C8-0EC6-C2CA-2937-4684118B9A0D}"/>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Arrow: Bent 29">
            <a:extLst>
              <a:ext uri="{FF2B5EF4-FFF2-40B4-BE49-F238E27FC236}">
                <a16:creationId xmlns:a16="http://schemas.microsoft.com/office/drawing/2014/main" id="{E61A60BA-0CA3-44BF-93F8-C52DB6B0580C}"/>
              </a:ext>
            </a:extLst>
          </p:cNvPr>
          <p:cNvSpPr/>
          <p:nvPr/>
        </p:nvSpPr>
        <p:spPr>
          <a:xfrm rot="5400000" flipV="1">
            <a:off x="1289382" y="1762542"/>
            <a:ext cx="1578968" cy="294488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Arrow: Bent 30">
            <a:extLst>
              <a:ext uri="{FF2B5EF4-FFF2-40B4-BE49-F238E27FC236}">
                <a16:creationId xmlns:a16="http://schemas.microsoft.com/office/drawing/2014/main" id="{AB5AFF22-2AB2-A03F-9B15-1AE723800B8A}"/>
              </a:ext>
            </a:extLst>
          </p:cNvPr>
          <p:cNvSpPr/>
          <p:nvPr/>
        </p:nvSpPr>
        <p:spPr>
          <a:xfrm rot="16200000" flipH="1" flipV="1">
            <a:off x="104591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55C98E6A-5D26-2538-A64D-2CA534809A40}"/>
              </a:ext>
            </a:extLst>
          </p:cNvPr>
          <p:cNvSpPr/>
          <p:nvPr/>
        </p:nvSpPr>
        <p:spPr>
          <a:xfrm rot="5400000" flipV="1">
            <a:off x="3976062" y="2766859"/>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D253EB5-9381-D2AF-A269-710FBA07D533}"/>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Arrow: U-Turn 33">
            <a:extLst>
              <a:ext uri="{FF2B5EF4-FFF2-40B4-BE49-F238E27FC236}">
                <a16:creationId xmlns:a16="http://schemas.microsoft.com/office/drawing/2014/main" id="{6DB31DB9-74C9-9BD8-D400-637B5C33AFFC}"/>
              </a:ext>
            </a:extLst>
          </p:cNvPr>
          <p:cNvSpPr/>
          <p:nvPr/>
        </p:nvSpPr>
        <p:spPr>
          <a:xfrm rot="10800000">
            <a:off x="4177485"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Arrow: Bent 43">
            <a:extLst>
              <a:ext uri="{FF2B5EF4-FFF2-40B4-BE49-F238E27FC236}">
                <a16:creationId xmlns:a16="http://schemas.microsoft.com/office/drawing/2014/main" id="{DFCA3C2C-9393-F369-7507-143DC507B014}"/>
              </a:ext>
            </a:extLst>
          </p:cNvPr>
          <p:cNvSpPr/>
          <p:nvPr/>
        </p:nvSpPr>
        <p:spPr>
          <a:xfrm rot="16200000" flipH="1" flipV="1">
            <a:off x="4756659"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Arrow: U-Turn 44">
            <a:extLst>
              <a:ext uri="{FF2B5EF4-FFF2-40B4-BE49-F238E27FC236}">
                <a16:creationId xmlns:a16="http://schemas.microsoft.com/office/drawing/2014/main" id="{1BD63963-E54C-5643-59AE-17F51B258B5A}"/>
              </a:ext>
            </a:extLst>
          </p:cNvPr>
          <p:cNvSpPr/>
          <p:nvPr/>
        </p:nvSpPr>
        <p:spPr>
          <a:xfrm rot="10800000">
            <a:off x="7888229"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Arrow: Bent 45">
            <a:extLst>
              <a:ext uri="{FF2B5EF4-FFF2-40B4-BE49-F238E27FC236}">
                <a16:creationId xmlns:a16="http://schemas.microsoft.com/office/drawing/2014/main" id="{A3D5F78A-3FE6-C99F-A7BF-0DF752C68737}"/>
              </a:ext>
            </a:extLst>
          </p:cNvPr>
          <p:cNvSpPr/>
          <p:nvPr/>
        </p:nvSpPr>
        <p:spPr>
          <a:xfrm rot="5400000" flipV="1">
            <a:off x="7686807" y="2766860"/>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Rectangle 39">
            <a:extLst>
              <a:ext uri="{FF2B5EF4-FFF2-40B4-BE49-F238E27FC236}">
                <a16:creationId xmlns:a16="http://schemas.microsoft.com/office/drawing/2014/main" id="{9E75521A-6A23-175F-4A0A-F35F09E0EF6A}"/>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2">
            <a:extLst>
              <a:ext uri="{FF2B5EF4-FFF2-40B4-BE49-F238E27FC236}">
                <a16:creationId xmlns:a16="http://schemas.microsoft.com/office/drawing/2014/main" id="{DC7C8C08-A22B-E3E2-A496-6756CCFF672E}"/>
              </a:ext>
            </a:extLst>
          </p:cNvPr>
          <p:cNvSpPr txBox="1"/>
          <p:nvPr/>
        </p:nvSpPr>
        <p:spPr>
          <a:xfrm>
            <a:off x="609231" y="1179516"/>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pPr>
            <a:r>
              <a:rPr lang="tr-TR" sz="1600" b="0" i="0" strike="noStrike" cap="none" spc="0" baseline="0">
                <a:solidFill>
                  <a:srgbClr val="000000"/>
                </a:solidFill>
                <a:effectLst/>
                <a:latin typeface="Calibri"/>
                <a:ea typeface="Calibri"/>
                <a:cs typeface="Calibri"/>
              </a:rPr>
              <a:t>Emisyon faktörleri için “tek durak noktası” yoktur. Farklı organizasyonlar ve kurumlar, faktörleri farklı şekillerde geliştirmek için veri toplar ve bu da farklı faktörlerle sonuçlanır. Ayrıca, bilim geliştikçe ve yöntemler geliştikçe emisyon faktörleri revize edilir ve/veya iyileştirilir. </a:t>
            </a:r>
          </a:p>
          <a:p>
            <a:pPr>
              <a:lnSpc>
                <a:spcPct val="100000"/>
              </a:lnSpc>
              <a:spcBef>
                <a:spcPts val="600"/>
              </a:spcBef>
            </a:pPr>
            <a:r>
              <a:rPr lang="tr-TR" sz="1600" b="0" i="0" strike="noStrike" cap="none" spc="0" baseline="0">
                <a:solidFill>
                  <a:srgbClr val="000000"/>
                </a:solidFill>
                <a:effectLst/>
                <a:latin typeface="Calibri"/>
                <a:ea typeface="Calibri"/>
                <a:cs typeface="Calibri"/>
              </a:rPr>
              <a:t>Kapsam 2 emisyon muhasebesi için en yaygın kullanılan veritabanı aşağıdadır.</a:t>
            </a:r>
          </a:p>
        </p:txBody>
      </p:sp>
      <p:sp>
        <p:nvSpPr>
          <p:cNvPr id="42" name="Rectangle 41">
            <a:hlinkClick r:id="rId9"/>
            <a:extLst>
              <a:ext uri="{FF2B5EF4-FFF2-40B4-BE49-F238E27FC236}">
                <a16:creationId xmlns:a16="http://schemas.microsoft.com/office/drawing/2014/main" id="{10E61722-A070-5CC5-1A5A-9CF37A3C27F6}"/>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r>
              <a:rPr lang="tr-TR" sz="1400" b="0" i="0" strike="noStrike" cap="none" spc="0" baseline="0">
                <a:solidFill>
                  <a:srgbClr val="FFFFFF"/>
                </a:solidFill>
                <a:effectLst/>
                <a:latin typeface="Calibri"/>
                <a:ea typeface="Calibri"/>
                <a:cs typeface="Calibri"/>
                <a:hlinkClick r:id="rId9" history="0"/>
              </a:rPr>
              <a:t>Bu veri tabanlarının gezinmek için biraz kafa karıştırıcı olduğunun farkındayız; lütfen ek rehberlik için emisyon faktörü eğitim</a:t>
            </a:r>
            <a:br>
              <a:rPr sz="1400"/>
            </a:br>
            <a:r>
              <a:rPr lang="tr-TR" sz="1400" b="0" i="0" strike="noStrike" cap="none" spc="0" baseline="0">
                <a:solidFill>
                  <a:srgbClr val="FFFFFF"/>
                </a:solidFill>
                <a:effectLst/>
                <a:latin typeface="Calibri"/>
                <a:ea typeface="Calibri"/>
                <a:cs typeface="Calibri"/>
                <a:hlinkClick r:id="rId9" history="0"/>
              </a:rPr>
              <a:t> videosuna bakın. </a:t>
            </a:r>
            <a:endParaRPr lang="en-US" sz="1400">
              <a:solidFill>
                <a:schemeClr val="bg1"/>
              </a:solidFill>
            </a:endParaRPr>
          </a:p>
        </p:txBody>
      </p:sp>
      <p:grpSp>
        <p:nvGrpSpPr>
          <p:cNvPr id="43" name="Group 42">
            <a:extLst>
              <a:ext uri="{FF2B5EF4-FFF2-40B4-BE49-F238E27FC236}">
                <a16:creationId xmlns:a16="http://schemas.microsoft.com/office/drawing/2014/main" id="{E42BE568-E78E-80BF-41DE-E1851E6EE89A}"/>
              </a:ext>
            </a:extLst>
          </p:cNvPr>
          <p:cNvGrpSpPr/>
          <p:nvPr/>
        </p:nvGrpSpPr>
        <p:grpSpPr>
          <a:xfrm>
            <a:off x="719099" y="5927416"/>
            <a:ext cx="430818" cy="430818"/>
            <a:chOff x="-5409218" y="-2183035"/>
            <a:chExt cx="3810000" cy="3810000"/>
          </a:xfrm>
        </p:grpSpPr>
        <p:pic>
          <p:nvPicPr>
            <p:cNvPr id="47" name="Graphic 46">
              <a:extLst>
                <a:ext uri="{FF2B5EF4-FFF2-40B4-BE49-F238E27FC236}">
                  <a16:creationId xmlns:a16="http://schemas.microsoft.com/office/drawing/2014/main" id="{237637FB-6A5E-42B0-F976-4870174D2E7F}"/>
                </a:ext>
              </a:extLst>
            </p:cNvPr>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409218" y="-2183035"/>
              <a:ext cx="3810000" cy="3810000"/>
            </a:xfrm>
            <a:prstGeom prst="rect">
              <a:avLst/>
            </a:prstGeom>
          </p:spPr>
        </p:pic>
        <p:sp>
          <p:nvSpPr>
            <p:cNvPr id="48" name="Freeform: Shape 47">
              <a:extLst>
                <a:ext uri="{FF2B5EF4-FFF2-40B4-BE49-F238E27FC236}">
                  <a16:creationId xmlns:a16="http://schemas.microsoft.com/office/drawing/2014/main" id="{D467E902-2234-3588-9EAD-79CD8E2488CB}"/>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10925D-49AE-E015-4371-D21D606F5764}"/>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pic>
        <p:nvPicPr>
          <p:cNvPr id="54" name="Picture 4" descr="defra-logo">
            <a:extLst>
              <a:ext uri="{FF2B5EF4-FFF2-40B4-BE49-F238E27FC236}">
                <a16:creationId xmlns:a16="http://schemas.microsoft.com/office/drawing/2014/main" id="{338370AC-3CC9-D762-265A-3D127E84D24C}"/>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9249600" y="2514600"/>
            <a:ext cx="1167547" cy="90601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United States Environmental Protection Agency - Wikipedia">
            <a:extLst>
              <a:ext uri="{FF2B5EF4-FFF2-40B4-BE49-F238E27FC236}">
                <a16:creationId xmlns:a16="http://schemas.microsoft.com/office/drawing/2014/main" id="{8DF17612-4E92-08C2-6C21-2587E250A780}"/>
              </a:ext>
            </a:extLst>
          </p:cNvPr>
          <p:cNvPicPr>
            <a:picLocks noChangeAspect="1" noChangeArrowheads="1"/>
          </p:cNvPicPr>
          <p:nvPr/>
        </p:nvPicPr>
        <p:blipFill>
          <a:blip r:embed="rId13">
            <a:extLst>
              <a:ext uri="{28A0092B-C50C-407E-A947-70E740481C1C}">
                <a14:useLocalDpi xmlns:a14="http://schemas.microsoft.com/office/drawing/2010/main"/>
              </a:ext>
            </a:extLst>
          </a:blip>
          <a:stretch>
            <a:fillRect/>
          </a:stretch>
        </p:blipFill>
        <p:spPr bwMode="auto">
          <a:xfrm>
            <a:off x="5615808" y="2508004"/>
            <a:ext cx="951680" cy="95168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International Energy Agency - Wikipedia">
            <a:extLst>
              <a:ext uri="{FF2B5EF4-FFF2-40B4-BE49-F238E27FC236}">
                <a16:creationId xmlns:a16="http://schemas.microsoft.com/office/drawing/2014/main" id="{9699F6C6-A6A3-A3EF-53B3-8054E50F5E03}"/>
              </a:ext>
            </a:extLst>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1700984" y="2767460"/>
            <a:ext cx="1080316" cy="49214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A4C2C32-A5D2-F7D9-B7D4-C32CF39E5290}"/>
              </a:ext>
            </a:extLst>
          </p:cNvPr>
          <p:cNvSpPr/>
          <p:nvPr/>
        </p:nvSpPr>
        <p:spPr>
          <a:xfrm>
            <a:off x="606424" y="2445500"/>
            <a:ext cx="3590814" cy="33673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354577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C39DC39-B582-8AFD-2A52-356FFEF65F1D}"/>
              </a:ext>
            </a:extLst>
          </p:cNvPr>
          <p:cNvSpPr>
            <a:spLocks noGrp="1"/>
          </p:cNvSpPr>
          <p:nvPr>
            <p:ph type="body" sz="quarter" idx="14"/>
          </p:nvPr>
        </p:nvSpPr>
        <p:spPr>
          <a:xfrm>
            <a:off x="608806" y="703110"/>
            <a:ext cx="6276095" cy="5307398"/>
          </a:xfrm>
        </p:spPr>
        <p:txBody>
          <a:bodyPr anchor="ctr"/>
          <a:lstStyle/>
          <a:p>
            <a:pPr marL="0" indent="0">
              <a:buNone/>
            </a:pPr>
            <a:r>
              <a:rPr lang="tr-TR" sz="6000" b="1" i="0" strike="noStrike" cap="none" spc="0" baseline="0">
                <a:solidFill>
                  <a:srgbClr val="FFFFFF"/>
                </a:solidFill>
                <a:effectLst/>
                <a:latin typeface="Calibri"/>
                <a:ea typeface="Calibri"/>
                <a:cs typeface="Calibri"/>
              </a:rPr>
              <a:t>4. Veri Hesaplama</a:t>
            </a:r>
          </a:p>
        </p:txBody>
      </p:sp>
    </p:spTree>
    <p:extLst>
      <p:ext uri="{BB962C8B-B14F-4D97-AF65-F5344CB8AC3E}">
        <p14:creationId xmlns:p14="http://schemas.microsoft.com/office/powerpoint/2010/main" val="186844676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6983175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8C5B66F9-AB93-B7DA-9A39-6301E94C23D1}"/>
              </a:ext>
            </a:extLst>
          </p:cNvPr>
          <p:cNvSpPr/>
          <p:nvPr/>
        </p:nvSpPr>
        <p:spPr>
          <a:xfrm>
            <a:off x="0" y="1509949"/>
            <a:ext cx="12192000" cy="4657387"/>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a:extLst>
              <a:ext uri="{FF2B5EF4-FFF2-40B4-BE49-F238E27FC236}">
                <a16:creationId xmlns:a16="http://schemas.microsoft.com/office/drawing/2014/main" id="{98E19651-58E6-60D4-AE19-3780FDF65943}"/>
              </a:ext>
            </a:extLst>
          </p:cNvPr>
          <p:cNvSpPr/>
          <p:nvPr/>
        </p:nvSpPr>
        <p:spPr>
          <a:xfrm flipH="1">
            <a:off x="459698"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D62560ED-FA54-57B0-D867-6037DBB41CFB}"/>
              </a:ext>
            </a:extLst>
          </p:cNvPr>
          <p:cNvSpPr/>
          <p:nvPr/>
        </p:nvSpPr>
        <p:spPr>
          <a:xfrm flipV="1">
            <a:off x="11584781"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Sera gazı emisyonlarını hesaplama</a:t>
            </a:r>
          </a:p>
        </p:txBody>
      </p:sp>
      <p:sp>
        <p:nvSpPr>
          <p:cNvPr id="5" name="Slide Number Placeholder 4">
            <a:extLst>
              <a:ext uri="{FF2B5EF4-FFF2-40B4-BE49-F238E27FC236}">
                <a16:creationId xmlns:a16="http://schemas.microsoft.com/office/drawing/2014/main" id="{FE71400D-1F17-9C49-AD6D-E0AF8EE1CDB7}"/>
              </a:ext>
            </a:extLst>
          </p:cNvPr>
          <p:cNvSpPr>
            <a:spLocks noGrp="1"/>
          </p:cNvSpPr>
          <p:nvPr>
            <p:ph type="sldNum" sz="quarter" idx="4294967295"/>
          </p:nvPr>
        </p:nvSpPr>
        <p:spPr>
          <a:xfrm>
            <a:off x="11599863" y="6356350"/>
            <a:ext cx="592137" cy="157163"/>
          </a:xfrm>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ct val="0"/>
              </a:spcBef>
              <a:spcAft>
                <a:spcPct val="0"/>
              </a:spcAft>
              <a:buClrTx/>
              <a:buSzTx/>
              <a:buFontTx/>
              <a:buNone/>
              <a:defRPr/>
            </a:pPr>
            <a:fld id="{6D22F896-40B5-4ADD-8801-0D06FADFA095}" type="slidenum">
              <a:rPr lang="en-US" smtClean="0">
                <a:solidFill>
                  <a:schemeClr val="tx1"/>
                </a:solidFill>
              </a:rPr>
              <a:pPr marL="0" marR="0" lvl="0" indent="0" algn="r" defTabSz="609585" rtl="0" eaLnBrk="1" fontAlgn="auto" latinLnBrk="0" hangingPunct="1">
                <a:lnSpc>
                  <a:spcPct val="100000"/>
                </a:lnSpc>
                <a:spcBef>
                  <a:spcPct val="0"/>
                </a:spcBef>
                <a:spcAft>
                  <a:spcPct val="0"/>
                </a:spcAft>
                <a:buClrTx/>
                <a:buSzTx/>
                <a:buFontTx/>
                <a:buNone/>
                <a:defRPr/>
              </a:pPr>
              <a:t>23</a:t>
            </a:fld>
            <a:endParaRPr kumimoji="0" lang="en-US" sz="1067" b="0" i="0" u="none" strike="noStrike" kern="1200" cap="none" spc="0" normalizeH="0" baseline="0" noProof="0">
              <a:ln>
                <a:noFill/>
              </a:ln>
              <a:solidFill>
                <a:schemeClr val="tx1"/>
              </a:solidFill>
              <a:effectLst/>
              <a:uLnTx/>
              <a:uFillTx/>
              <a:latin typeface="Arial"/>
              <a:ea typeface="+mn-ea"/>
              <a:cs typeface="+mn-cs"/>
            </a:endParaRPr>
          </a:p>
        </p:txBody>
      </p:sp>
      <p:sp>
        <p:nvSpPr>
          <p:cNvPr id="23" name="Text Placeholder 2">
            <a:extLst>
              <a:ext uri="{FF2B5EF4-FFF2-40B4-BE49-F238E27FC236}">
                <a16:creationId xmlns:a16="http://schemas.microsoft.com/office/drawing/2014/main" id="{1119EE0A-67D9-4F07-8307-8F64F769E271}"/>
              </a:ext>
            </a:extLst>
          </p:cNvPr>
          <p:cNvSpPr txBox="1"/>
          <p:nvPr/>
        </p:nvSpPr>
        <p:spPr>
          <a:xfrm>
            <a:off x="570878" y="792365"/>
            <a:ext cx="10952148" cy="4810836"/>
          </a:xfrm>
          <a:prstGeom prst="rect">
            <a:avLst/>
          </a:prstGeom>
        </p:spPr>
        <p:txBody>
          <a:bodyPr/>
          <a:lstStyle>
            <a:lvl1pPr marL="0" indent="0" algn="l" defTabSz="914377" rtl="0" eaLnBrk="1" latinLnBrk="0" hangingPunct="1">
              <a:lnSpc>
                <a:spcPct val="110000"/>
              </a:lnSpc>
              <a:spcBef>
                <a:spcPts val="267"/>
              </a:spcBef>
              <a:spcAft>
                <a:spcPts val="267"/>
              </a:spcAft>
              <a:buFont typeface="Arial" panose="020B0604020202020204" pitchFamily="34" charset="0"/>
              <a:buNone/>
              <a:defRPr sz="1733"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914377" rtl="0" eaLnBrk="1" latinLnBrk="0" hangingPunct="1">
              <a:lnSpc>
                <a:spcPct val="110000"/>
              </a:lnSpc>
              <a:spcBef>
                <a:spcPts val="267"/>
              </a:spcBef>
              <a:spcAft>
                <a:spcPts val="267"/>
              </a:spcAft>
              <a:buFont typeface="Arial" panose="020B0604020202020204" pitchFamily="34" charset="0"/>
              <a:buNone/>
              <a:defRPr sz="1733" b="1" i="0" kern="1200" cap="all" baseline="0">
                <a:solidFill>
                  <a:schemeClr val="bg1"/>
                </a:solidFill>
                <a:latin typeface="Arial Black" panose="020B0604020202020204" pitchFamily="34" charset="0"/>
                <a:ea typeface="+mn-ea"/>
                <a:cs typeface="Arial Black" panose="020B0604020202020204" pitchFamily="34" charset="0"/>
              </a:defRPr>
            </a:lvl2pPr>
            <a:lvl3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733" b="0" i="0" kern="1200">
                <a:solidFill>
                  <a:schemeClr val="bg1"/>
                </a:solidFill>
                <a:latin typeface="+mn-lt"/>
                <a:ea typeface="+mn-ea"/>
                <a:cs typeface="Arial Narrow" panose="020B0604020202020204" pitchFamily="34" charset="0"/>
              </a:defRPr>
            </a:lvl3pPr>
            <a:lvl4pPr marL="0" indent="0" algn="l" defTabSz="914377" rtl="0" eaLnBrk="1" latinLnBrk="0" hangingPunct="1">
              <a:lnSpc>
                <a:spcPct val="110000"/>
              </a:lnSpc>
              <a:spcBef>
                <a:spcPts val="267"/>
              </a:spcBef>
              <a:spcAft>
                <a:spcPts val="267"/>
              </a:spcAft>
              <a:buFont typeface="Arial" panose="020B0604020202020204" pitchFamily="34" charset="0"/>
              <a:buNone/>
              <a:defRPr sz="1467" b="0" i="0" kern="1200">
                <a:solidFill>
                  <a:schemeClr val="bg1"/>
                </a:solidFill>
                <a:latin typeface="+mn-lt"/>
                <a:ea typeface="+mn-ea"/>
                <a:cs typeface="Arial Narrow" panose="020B0604020202020204" pitchFamily="34" charset="0"/>
              </a:defRPr>
            </a:lvl4pPr>
            <a:lvl5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467" b="0" i="0" kern="1200">
                <a:solidFill>
                  <a:schemeClr val="bg1"/>
                </a:solidFill>
                <a:latin typeface="+mn-lt"/>
                <a:ea typeface="+mn-ea"/>
                <a:cs typeface="Arial Narrow"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267"/>
              </a:spcBef>
              <a:spcAft>
                <a:spcPts val="267"/>
              </a:spcAft>
              <a:buClrTx/>
              <a:buSzTx/>
              <a:buFont typeface="Arial" panose="020B0604020202020204" pitchFamily="34" charset="0"/>
              <a:buNone/>
              <a:defRPr/>
            </a:pPr>
            <a:endParaRPr kumimoji="0" lang="en-US" sz="1733"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TextBox 34" hidden="1">
            <a:extLst>
              <a:ext uri="{FF2B5EF4-FFF2-40B4-BE49-F238E27FC236}">
                <a16:creationId xmlns:a16="http://schemas.microsoft.com/office/drawing/2014/main" id="{CC6ACA71-EFEB-DFBB-77AE-ED744C9498CE}"/>
              </a:ext>
            </a:extLst>
          </p:cNvPr>
          <p:cNvSpPr txBox="1"/>
          <p:nvPr/>
        </p:nvSpPr>
        <p:spPr>
          <a:xfrm>
            <a:off x="606424" y="4786359"/>
            <a:ext cx="10970425" cy="951323"/>
          </a:xfrm>
          <a:prstGeom prst="rect">
            <a:avLst/>
          </a:prstGeom>
          <a:solidFill>
            <a:schemeClr val="accent3">
              <a:lumMod val="20000"/>
              <a:lumOff val="80000"/>
            </a:schemeClr>
          </a:solidFill>
        </p:spPr>
        <p:txBody>
          <a:bodyPr wrap="square" rtlCol="0" anchor="ctr">
            <a:noAutofit/>
          </a:bodyPr>
          <a:lstStyle/>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endParaRPr kumimoji="0" lang="en-US" sz="1800" b="0" i="0" u="none" strike="noStrike" kern="1200" cap="none" spc="0" normalizeH="0" baseline="0" noProof="0">
              <a:ln>
                <a:noFill/>
              </a:ln>
              <a:effectLst/>
              <a:uLnTx/>
              <a:uFillTx/>
              <a:latin typeface="Calibri" panose="020F0502020204030204" pitchFamily="34" charset="0"/>
              <a:ea typeface="+mn-ea"/>
              <a:cs typeface="+mn-cs"/>
            </a:endParaRPr>
          </a:p>
        </p:txBody>
      </p:sp>
      <p:sp>
        <p:nvSpPr>
          <p:cNvPr id="39" name="Rectangle 38">
            <a:extLst>
              <a:ext uri="{FF2B5EF4-FFF2-40B4-BE49-F238E27FC236}">
                <a16:creationId xmlns:a16="http://schemas.microsoft.com/office/drawing/2014/main" id="{28B4C397-778B-1488-2E0F-D99779150997}"/>
              </a:ext>
            </a:extLst>
          </p:cNvPr>
          <p:cNvSpPr/>
          <p:nvPr/>
        </p:nvSpPr>
        <p:spPr>
          <a:xfrm>
            <a:off x="4480985"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tr-TR" sz="2000" b="1" i="0" strike="noStrike" cap="none" spc="0" baseline="0">
                <a:solidFill>
                  <a:srgbClr val="FFFFFF"/>
                </a:solidFill>
                <a:effectLst/>
                <a:latin typeface="Calibri"/>
                <a:ea typeface="Calibri"/>
                <a:cs typeface="Calibri"/>
              </a:rPr>
              <a:t>Faaliyet</a:t>
            </a:r>
          </a:p>
          <a:p>
            <a:pPr lvl="0" algn="ctr" defTabSz="609585">
              <a:spcAft>
                <a:spcPts val="300"/>
              </a:spcAft>
              <a:defRPr/>
            </a:pPr>
            <a:r>
              <a:rPr lang="tr-TR" sz="2000" b="0" i="0" strike="noStrike" cap="none" spc="0" baseline="0">
                <a:solidFill>
                  <a:srgbClr val="FFFFFF"/>
                </a:solidFill>
                <a:effectLst/>
                <a:latin typeface="Calibri"/>
                <a:ea typeface="Calibri"/>
                <a:cs typeface="Calibri"/>
              </a:rPr>
              <a:t>ör. kWh</a:t>
            </a:r>
            <a:endParaRPr lang="en-US" sz="2000" baseline="30000">
              <a:solidFill>
                <a:schemeClr val="bg1"/>
              </a:solidFill>
              <a:ea typeface="Consolas" panose="020B0609020204030204" pitchFamily="49" charset="0"/>
              <a:cs typeface="Consolas" panose="020B0609020204030204" pitchFamily="49" charset="0"/>
            </a:endParaRPr>
          </a:p>
        </p:txBody>
      </p:sp>
      <p:sp>
        <p:nvSpPr>
          <p:cNvPr id="40" name="Rectangle 39">
            <a:extLst>
              <a:ext uri="{FF2B5EF4-FFF2-40B4-BE49-F238E27FC236}">
                <a16:creationId xmlns:a16="http://schemas.microsoft.com/office/drawing/2014/main" id="{85C8A630-3C27-3088-360A-4B0146C0C4A3}"/>
              </a:ext>
            </a:extLst>
          </p:cNvPr>
          <p:cNvSpPr/>
          <p:nvPr/>
        </p:nvSpPr>
        <p:spPr>
          <a:xfrm>
            <a:off x="8355543"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tr-TR" sz="2000" b="1" i="0" strike="noStrike" cap="none" spc="0" baseline="0">
                <a:solidFill>
                  <a:srgbClr val="FFFFFF"/>
                </a:solidFill>
                <a:effectLst/>
                <a:latin typeface="Calibri"/>
                <a:ea typeface="Calibri"/>
                <a:cs typeface="Calibri"/>
              </a:rPr>
              <a:t>Emisyon faktörü</a:t>
            </a:r>
          </a:p>
          <a:p>
            <a:pPr lvl="0" algn="ctr" defTabSz="609585">
              <a:spcAft>
                <a:spcPts val="300"/>
              </a:spcAft>
              <a:defRPr/>
            </a:pPr>
            <a:r>
              <a:rPr lang="tr-TR" sz="2000" b="0" i="0" strike="noStrike" cap="none" spc="0" baseline="0">
                <a:solidFill>
                  <a:srgbClr val="FFFFFF"/>
                </a:solidFill>
                <a:effectLst/>
                <a:latin typeface="Calibri"/>
                <a:ea typeface="Calibri"/>
                <a:cs typeface="Calibri"/>
              </a:rPr>
              <a:t>ör. kgCO</a:t>
            </a:r>
            <a:r>
              <a:rPr lang="tr-TR" sz="2000" b="0" i="0" strike="noStrike" cap="none" spc="0" baseline="-25000">
                <a:solidFill>
                  <a:srgbClr val="FFFFFF"/>
                </a:solidFill>
                <a:effectLst/>
                <a:latin typeface="Calibri"/>
                <a:ea typeface="Calibri"/>
                <a:cs typeface="Calibri"/>
              </a:rPr>
              <a:t>2</a:t>
            </a:r>
            <a:r>
              <a:rPr lang="tr-TR" sz="2000" b="0" i="0" strike="noStrike" cap="none" spc="0" baseline="0">
                <a:solidFill>
                  <a:srgbClr val="FFFFFF"/>
                </a:solidFill>
                <a:effectLst/>
                <a:latin typeface="Calibri"/>
                <a:ea typeface="Calibri"/>
                <a:cs typeface="Calibri"/>
              </a:rPr>
              <a:t>e/kWh</a:t>
            </a:r>
            <a:endParaRPr lang="en-US" sz="2000" baseline="30000">
              <a:solidFill>
                <a:schemeClr val="bg1"/>
              </a:solidFill>
              <a:ea typeface="Consolas" panose="020B0609020204030204" pitchFamily="49" charset="0"/>
              <a:cs typeface="Consolas" panose="020B0609020204030204" pitchFamily="49" charset="0"/>
            </a:endParaRPr>
          </a:p>
        </p:txBody>
      </p:sp>
      <p:sp>
        <p:nvSpPr>
          <p:cNvPr id="41" name="Rectangle 40">
            <a:extLst>
              <a:ext uri="{FF2B5EF4-FFF2-40B4-BE49-F238E27FC236}">
                <a16:creationId xmlns:a16="http://schemas.microsoft.com/office/drawing/2014/main" id="{BC3CCC53-D4CF-E66A-9425-129E469C28AE}"/>
              </a:ext>
            </a:extLst>
          </p:cNvPr>
          <p:cNvSpPr/>
          <p:nvPr/>
        </p:nvSpPr>
        <p:spPr>
          <a:xfrm>
            <a:off x="606425"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a:spcAft>
                <a:spcPts val="300"/>
              </a:spcAft>
              <a:defRPr/>
            </a:pPr>
            <a:r>
              <a:rPr lang="tr-TR" sz="2000" b="1" i="0" strike="noStrike" cap="none" spc="0" baseline="0">
                <a:solidFill>
                  <a:srgbClr val="FFFFFF"/>
                </a:solidFill>
                <a:effectLst/>
                <a:latin typeface="Calibri"/>
                <a:ea typeface="Calibri"/>
                <a:cs typeface="Calibri"/>
              </a:rPr>
              <a:t>Sera Gazı</a:t>
            </a:r>
          </a:p>
          <a:p>
            <a:pPr lvl="0" algn="ctr" defTabSz="1219170">
              <a:spcAft>
                <a:spcPts val="300"/>
              </a:spcAft>
              <a:defRPr/>
            </a:pPr>
            <a:r>
              <a:rPr lang="tr-TR" sz="2000" b="0" i="0" strike="noStrike" cap="none" spc="0" baseline="0">
                <a:solidFill>
                  <a:srgbClr val="FFFFFF"/>
                </a:solidFill>
                <a:effectLst/>
                <a:latin typeface="Calibri"/>
                <a:ea typeface="Calibri"/>
                <a:cs typeface="Calibri"/>
              </a:rPr>
              <a:t>kgCO</a:t>
            </a:r>
            <a:r>
              <a:rPr lang="tr-TR" sz="2000" b="0" i="0" strike="noStrike" cap="none" spc="0" baseline="-25000">
                <a:solidFill>
                  <a:srgbClr val="FFFFFF"/>
                </a:solidFill>
                <a:effectLst/>
                <a:latin typeface="Calibri"/>
                <a:ea typeface="Calibri"/>
                <a:cs typeface="Calibri"/>
              </a:rPr>
              <a:t>2</a:t>
            </a:r>
            <a:r>
              <a:rPr lang="tr-TR" sz="2000" b="0" i="0" strike="noStrike" cap="none" spc="0" baseline="0">
                <a:solidFill>
                  <a:srgbClr val="FFFFFF"/>
                </a:solidFill>
                <a:effectLst/>
                <a:latin typeface="Calibri"/>
                <a:ea typeface="Calibri"/>
                <a:cs typeface="Calibri"/>
              </a:rPr>
              <a:t>e</a:t>
            </a:r>
          </a:p>
        </p:txBody>
      </p:sp>
      <p:sp>
        <p:nvSpPr>
          <p:cNvPr id="42" name="Oval 41">
            <a:extLst>
              <a:ext uri="{FF2B5EF4-FFF2-40B4-BE49-F238E27FC236}">
                <a16:creationId xmlns:a16="http://schemas.microsoft.com/office/drawing/2014/main" id="{A8146C5C-8CA0-9647-6896-0097B2FE43B2}"/>
              </a:ext>
            </a:extLst>
          </p:cNvPr>
          <p:cNvSpPr/>
          <p:nvPr/>
        </p:nvSpPr>
        <p:spPr>
          <a:xfrm>
            <a:off x="3615267" y="1912036"/>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3" name="Oval 42">
            <a:extLst>
              <a:ext uri="{FF2B5EF4-FFF2-40B4-BE49-F238E27FC236}">
                <a16:creationId xmlns:a16="http://schemas.microsoft.com/office/drawing/2014/main" id="{49D542EA-D04E-8DA5-CEFC-4F967A6ADB7A}"/>
              </a:ext>
            </a:extLst>
          </p:cNvPr>
          <p:cNvSpPr/>
          <p:nvPr/>
        </p:nvSpPr>
        <p:spPr>
          <a:xfrm>
            <a:off x="3735062" y="2031831"/>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a:solidFill>
                  <a:schemeClr val="bg1"/>
                </a:solidFill>
              </a:rPr>
              <a:t>=</a:t>
            </a:r>
            <a:endParaRPr lang="en-US" sz="3600" b="1">
              <a:solidFill>
                <a:schemeClr val="bg1"/>
              </a:solidFill>
            </a:endParaRPr>
          </a:p>
        </p:txBody>
      </p:sp>
      <p:sp>
        <p:nvSpPr>
          <p:cNvPr id="44" name="Oval 43">
            <a:extLst>
              <a:ext uri="{FF2B5EF4-FFF2-40B4-BE49-F238E27FC236}">
                <a16:creationId xmlns:a16="http://schemas.microsoft.com/office/drawing/2014/main" id="{0C5471C2-8C9C-1237-9746-4B4C4432CFC7}"/>
              </a:ext>
            </a:extLst>
          </p:cNvPr>
          <p:cNvSpPr/>
          <p:nvPr/>
        </p:nvSpPr>
        <p:spPr>
          <a:xfrm>
            <a:off x="7489826" y="1912036"/>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5" name="Oval 44">
            <a:extLst>
              <a:ext uri="{FF2B5EF4-FFF2-40B4-BE49-F238E27FC236}">
                <a16:creationId xmlns:a16="http://schemas.microsoft.com/office/drawing/2014/main" id="{DEAC6EA1-122F-708A-82B0-15423DDB3D01}"/>
              </a:ext>
            </a:extLst>
          </p:cNvPr>
          <p:cNvSpPr/>
          <p:nvPr/>
        </p:nvSpPr>
        <p:spPr>
          <a:xfrm>
            <a:off x="7609622" y="2031831"/>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tr-TR" sz="4000" b="1" i="0" strike="noStrike" cap="none" spc="0" baseline="0">
                <a:solidFill>
                  <a:srgbClr val="FFFFFF"/>
                </a:solidFill>
                <a:effectLst/>
                <a:latin typeface="Calibri"/>
                <a:ea typeface="Calibri"/>
                <a:cs typeface="Calibri"/>
              </a:rPr>
              <a:t>X</a:t>
            </a:r>
          </a:p>
        </p:txBody>
      </p:sp>
      <p:sp>
        <p:nvSpPr>
          <p:cNvPr id="46" name="Rectangle 45 - 1">
            <a:extLst>
              <a:ext uri="{FF2B5EF4-FFF2-40B4-BE49-F238E27FC236}">
                <a16:creationId xmlns:a16="http://schemas.microsoft.com/office/drawing/2014/main" id="{E9767ADD-F467-A92C-86CE-84E1AF27E828}"/>
              </a:ext>
            </a:extLst>
          </p:cNvPr>
          <p:cNvSpPr/>
          <p:nvPr/>
        </p:nvSpPr>
        <p:spPr>
          <a:xfrm>
            <a:off x="607771" y="3257256"/>
            <a:ext cx="10976458" cy="2391070"/>
          </a:xfrm>
          <a:custGeom>
            <a:avLst/>
            <a:gdLst>
              <a:gd name="connsiteX0" fmla="*/ 0 w 10952147"/>
              <a:gd name="connsiteY0" fmla="*/ 2005408 h 2005408"/>
              <a:gd name="connsiteX1" fmla="*/ 0 w 10952147"/>
              <a:gd name="connsiteY1" fmla="*/ 0 h 2005408"/>
              <a:gd name="connsiteX2" fmla="*/ 10952147 w 10952147"/>
              <a:gd name="connsiteY2" fmla="*/ 0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 ang="0">
                <a:pos x="connsiteX3" y="connsiteY3"/>
              </a:cxn>
            </a:cxnLst>
            <a:rect l="l" t="t" r="r" b="b"/>
            <a:pathLst>
              <a:path w="10952147" h="2005408">
                <a:moveTo>
                  <a:pt x="0" y="2005408"/>
                </a:moveTo>
                <a:lnTo>
                  <a:pt x="0" y="0"/>
                </a:ln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5">
            <a:extLst>
              <a:ext uri="{FF2B5EF4-FFF2-40B4-BE49-F238E27FC236}">
                <a16:creationId xmlns:a16="http://schemas.microsoft.com/office/drawing/2014/main" id="{88CE0CB1-D4B2-CCDE-52D9-7A7132326522}"/>
              </a:ext>
            </a:extLst>
          </p:cNvPr>
          <p:cNvSpPr/>
          <p:nvPr/>
        </p:nvSpPr>
        <p:spPr>
          <a:xfrm flipV="1">
            <a:off x="0" y="3523953"/>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Rectangle 45">
            <a:extLst>
              <a:ext uri="{FF2B5EF4-FFF2-40B4-BE49-F238E27FC236}">
                <a16:creationId xmlns:a16="http://schemas.microsoft.com/office/drawing/2014/main" id="{711C22EA-DE86-8B8B-42AF-5D9C87D5A84E}"/>
              </a:ext>
            </a:extLst>
          </p:cNvPr>
          <p:cNvSpPr/>
          <p:nvPr/>
        </p:nvSpPr>
        <p:spPr>
          <a:xfrm flipH="1" flipV="1">
            <a:off x="11584228" y="3509814"/>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Isosceles Triangle 57">
            <a:extLst>
              <a:ext uri="{FF2B5EF4-FFF2-40B4-BE49-F238E27FC236}">
                <a16:creationId xmlns:a16="http://schemas.microsoft.com/office/drawing/2014/main" id="{E69F0DEF-78C2-928E-C33E-590690271109}"/>
              </a:ext>
            </a:extLst>
          </p:cNvPr>
          <p:cNvSpPr/>
          <p:nvPr/>
        </p:nvSpPr>
        <p:spPr>
          <a:xfrm>
            <a:off x="11584781"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a:extLst>
              <a:ext uri="{FF2B5EF4-FFF2-40B4-BE49-F238E27FC236}">
                <a16:creationId xmlns:a16="http://schemas.microsoft.com/office/drawing/2014/main" id="{60BE06B4-FBC1-A8DD-F93D-41AC3785C5A9}"/>
              </a:ext>
            </a:extLst>
          </p:cNvPr>
          <p:cNvSpPr/>
          <p:nvPr/>
        </p:nvSpPr>
        <p:spPr>
          <a:xfrm flipH="1" flipV="1">
            <a:off x="459633"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FEEA769-92AD-46B9-8AA3-DF58EFFED4D7}"/>
              </a:ext>
            </a:extLst>
          </p:cNvPr>
          <p:cNvSpPr txBox="1"/>
          <p:nvPr/>
        </p:nvSpPr>
        <p:spPr>
          <a:xfrm>
            <a:off x="461563" y="3499120"/>
            <a:ext cx="11268874" cy="1884374"/>
          </a:xfrm>
          <a:prstGeom prst="rect">
            <a:avLst/>
          </a:prstGeom>
          <a:solidFill>
            <a:schemeClr val="bg1">
              <a:lumMod val="95000"/>
            </a:schemeClr>
          </a:solidFill>
        </p:spPr>
        <p:txBody>
          <a:bodyPr wrap="square" lIns="182880" tIns="91440" rIns="182880" bIns="91440" rtlCol="0" anchor="ctr">
            <a:noAutofit/>
          </a:bodyPr>
          <a:lstStyle/>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defRPr/>
            </a:pPr>
            <a:r>
              <a:rPr lang="tr-TR" sz="1800" b="0" i="0" strike="noStrike" cap="none" spc="0" baseline="0">
                <a:solidFill>
                  <a:srgbClr val="000000"/>
                </a:solidFill>
                <a:effectLst/>
                <a:latin typeface="Calibri"/>
                <a:ea typeface="Calibri"/>
                <a:cs typeface="Calibri"/>
              </a:rPr>
              <a:t>Birimlerin eşleştiğinden emin olun (ör. kWh ile kgCO</a:t>
            </a:r>
            <a:r>
              <a:rPr lang="tr-TR" sz="1800" b="0" i="0" strike="noStrike" cap="none" spc="0" baseline="-25000">
                <a:solidFill>
                  <a:srgbClr val="000000"/>
                </a:solidFill>
                <a:effectLst/>
                <a:latin typeface="Calibri"/>
                <a:ea typeface="Calibri"/>
                <a:cs typeface="Calibri"/>
              </a:rPr>
              <a:t>2</a:t>
            </a:r>
            <a:r>
              <a:rPr lang="tr-TR" sz="1800" b="0" i="0" strike="noStrike" cap="none" spc="0" baseline="0">
                <a:solidFill>
                  <a:srgbClr val="000000"/>
                </a:solidFill>
                <a:effectLst/>
                <a:latin typeface="Calibri"/>
                <a:ea typeface="Calibri"/>
                <a:cs typeface="Calibri"/>
              </a:rPr>
              <a:t>e/kWh çarpımı; kgCO</a:t>
            </a:r>
            <a:r>
              <a:rPr lang="tr-TR" sz="1800" b="0" i="0" strike="noStrike" cap="none" spc="0" baseline="-25000">
                <a:solidFill>
                  <a:srgbClr val="000000"/>
                </a:solidFill>
                <a:effectLst/>
                <a:latin typeface="Calibri"/>
                <a:ea typeface="Calibri"/>
                <a:cs typeface="Calibri"/>
              </a:rPr>
              <a:t>2</a:t>
            </a:r>
            <a:r>
              <a:rPr lang="tr-TR" sz="1800" b="0" i="0" strike="noStrike" cap="none" spc="0" baseline="0">
                <a:solidFill>
                  <a:srgbClr val="000000"/>
                </a:solidFill>
                <a:effectLst/>
                <a:latin typeface="Calibri"/>
                <a:ea typeface="Calibri"/>
                <a:cs typeface="Calibri"/>
              </a:rPr>
              <a:t>e/MJ değil)</a:t>
            </a:r>
          </a:p>
          <a:p>
            <a:pPr marL="285750" marR="0" lvl="0" indent="-285750" algn="l" defTabSz="914400" rtl="0" eaLnBrk="1" fontAlgn="auto" latinLnBrk="0" hangingPunct="1">
              <a:lnSpc>
                <a:spcPct val="100000"/>
              </a:lnSpc>
              <a:spcBef>
                <a:spcPts val="1200"/>
              </a:spcBef>
              <a:spcAft>
                <a:spcPts val="1200"/>
              </a:spcAft>
              <a:buClrTx/>
              <a:buSzTx/>
              <a:buFont typeface="Arial" panose="020B0604020202020204" pitchFamily="34" charset="0"/>
              <a:buChar char="•"/>
              <a:defRPr/>
            </a:pPr>
            <a:r>
              <a:rPr lang="tr-TR" sz="1800" b="0" i="0" strike="noStrike" cap="none" spc="0" baseline="0">
                <a:solidFill>
                  <a:srgbClr val="000000"/>
                </a:solidFill>
                <a:effectLst/>
                <a:latin typeface="Calibri"/>
                <a:ea typeface="Calibri"/>
                <a:cs typeface="Calibri"/>
              </a:rPr>
              <a:t>Emisyon faktörünün kg CO</a:t>
            </a:r>
            <a:r>
              <a:rPr lang="tr-TR" sz="1800" b="0" i="0" strike="noStrike" cap="none" spc="0" baseline="-25000">
                <a:solidFill>
                  <a:srgbClr val="000000"/>
                </a:solidFill>
                <a:effectLst/>
                <a:latin typeface="Calibri"/>
                <a:ea typeface="Calibri"/>
                <a:cs typeface="Calibri"/>
              </a:rPr>
              <a:t>2</a:t>
            </a:r>
            <a:r>
              <a:rPr lang="tr-TR" sz="1800" b="0" i="0" strike="noStrike" cap="none" spc="0" baseline="0">
                <a:solidFill>
                  <a:srgbClr val="000000"/>
                </a:solidFill>
                <a:effectLst/>
                <a:latin typeface="Calibri"/>
                <a:ea typeface="Calibri"/>
                <a:cs typeface="Calibri"/>
              </a:rPr>
              <a:t> cinsinden olduğundan emin olun (Sera gazı protokolünde tanımlandığı gibi CO</a:t>
            </a:r>
            <a:r>
              <a:rPr lang="tr-TR" sz="1800" b="0" i="0" strike="noStrike" cap="none" spc="0" baseline="-25000">
                <a:solidFill>
                  <a:srgbClr val="000000"/>
                </a:solidFill>
                <a:effectLst/>
                <a:latin typeface="Calibri"/>
                <a:ea typeface="Calibri"/>
                <a:cs typeface="Calibri"/>
              </a:rPr>
              <a:t>2</a:t>
            </a:r>
            <a:r>
              <a:rPr lang="tr-TR" sz="1800" b="0" i="0" strike="noStrike" cap="none" spc="0" baseline="0">
                <a:solidFill>
                  <a:srgbClr val="000000"/>
                </a:solidFill>
                <a:effectLst/>
                <a:latin typeface="Calibri"/>
                <a:ea typeface="Calibri"/>
                <a:cs typeface="Calibri"/>
              </a:rPr>
              <a:t>, CH</a:t>
            </a:r>
            <a:r>
              <a:rPr lang="tr-TR" sz="1800" b="0" i="0" strike="noStrike" cap="none" spc="0" baseline="-25000">
                <a:solidFill>
                  <a:srgbClr val="000000"/>
                </a:solidFill>
                <a:effectLst/>
                <a:latin typeface="Calibri"/>
                <a:ea typeface="Calibri"/>
                <a:cs typeface="Calibri"/>
              </a:rPr>
              <a:t>4</a:t>
            </a:r>
            <a:r>
              <a:rPr lang="tr-TR" sz="1800" b="0" i="0" strike="noStrike" cap="none" spc="0" baseline="0">
                <a:solidFill>
                  <a:srgbClr val="000000"/>
                </a:solidFill>
                <a:effectLst/>
                <a:latin typeface="Calibri"/>
                <a:ea typeface="Calibri"/>
                <a:cs typeface="Calibri"/>
              </a:rPr>
              <a:t>, N</a:t>
            </a:r>
            <a:r>
              <a:rPr lang="tr-TR" sz="1800" b="0" i="0" strike="noStrike" cap="none" spc="0" baseline="-25000">
                <a:solidFill>
                  <a:srgbClr val="000000"/>
                </a:solidFill>
                <a:effectLst/>
                <a:latin typeface="Calibri"/>
                <a:ea typeface="Calibri"/>
                <a:cs typeface="Calibri"/>
              </a:rPr>
              <a:t>2</a:t>
            </a:r>
            <a:r>
              <a:rPr lang="tr-TR" sz="1800" b="0" i="0" strike="noStrike" cap="none" spc="0" baseline="0">
                <a:solidFill>
                  <a:srgbClr val="000000"/>
                </a:solidFill>
                <a:effectLst/>
                <a:latin typeface="Calibri"/>
                <a:ea typeface="Calibri"/>
                <a:cs typeface="Calibri"/>
              </a:rPr>
              <a:t>O ve diğer sera gazları dahil olmak üzere ilgili tüm sera gazı emisyonları dahil)</a:t>
            </a:r>
          </a:p>
        </p:txBody>
      </p:sp>
      <p:cxnSp>
        <p:nvCxnSpPr>
          <p:cNvPr id="22" name="Straight Connector 21">
            <a:extLst>
              <a:ext uri="{FF2B5EF4-FFF2-40B4-BE49-F238E27FC236}">
                <a16:creationId xmlns:a16="http://schemas.microsoft.com/office/drawing/2014/main" id="{0C1E41AF-8E4A-6DF9-A90F-5AC3C36FAD0E}"/>
              </a:ext>
            </a:extLst>
          </p:cNvPr>
          <p:cNvCxnSpPr/>
          <p:nvPr/>
        </p:nvCxnSpPr>
        <p:spPr>
          <a:xfrm>
            <a:off x="605289" y="4305300"/>
            <a:ext cx="1091996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1249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606425" y="703110"/>
            <a:ext cx="6276095" cy="5307398"/>
          </a:xfrm>
        </p:spPr>
        <p:txBody>
          <a:bodyPr anchor="ctr"/>
          <a:lstStyle/>
          <a:p>
            <a:pPr marL="0" indent="0">
              <a:buNone/>
            </a:pPr>
            <a:r>
              <a:rPr lang="tr-TR" sz="6000" b="1" i="0" strike="noStrike" cap="none" spc="0" baseline="0">
                <a:solidFill>
                  <a:srgbClr val="FFFFFF"/>
                </a:solidFill>
                <a:effectLst/>
                <a:latin typeface="Calibri"/>
                <a:ea typeface="Calibri"/>
                <a:cs typeface="Calibri"/>
              </a:rPr>
              <a:t>5. Ayak İzi İzleme ve Revize Etme</a:t>
            </a:r>
          </a:p>
        </p:txBody>
      </p:sp>
    </p:spTree>
    <p:extLst>
      <p:ext uri="{BB962C8B-B14F-4D97-AF65-F5344CB8AC3E}">
        <p14:creationId xmlns:p14="http://schemas.microsoft.com/office/powerpoint/2010/main" val="284855900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282077-2277-F0B1-AE97-EB63A4DA2DD5}"/>
              </a:ext>
            </a:extLst>
          </p:cNvPr>
          <p:cNvGraphicFramePr>
            <a:graphicFrameLocks noChangeAspect="1"/>
          </p:cNvGraphicFramePr>
          <p:nvPr>
            <p:custDataLst>
              <p:tags r:id="rId1"/>
            </p:custDataLst>
            <p:extLst>
              <p:ext uri="{D42A27DB-BD31-4B8C-83A1-F6EECF244321}">
                <p14:modId xmlns:p14="http://schemas.microsoft.com/office/powerpoint/2010/main" val="67919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8A282077-2277-F0B1-AE97-EB63A4DA2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D1B852-5BE3-2640-F230-FEC155D9A9FD}"/>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Ayak izi izleme ve revize etme</a:t>
            </a:r>
          </a:p>
        </p:txBody>
      </p:sp>
      <p:sp>
        <p:nvSpPr>
          <p:cNvPr id="16" name="TextBox 15">
            <a:extLst>
              <a:ext uri="{FF2B5EF4-FFF2-40B4-BE49-F238E27FC236}">
                <a16:creationId xmlns:a16="http://schemas.microsoft.com/office/drawing/2014/main" id="{4EC83A3A-113F-8A3C-8A7A-CFCD0386CC56}"/>
              </a:ext>
            </a:extLst>
          </p:cNvPr>
          <p:cNvSpPr txBox="1"/>
          <p:nvPr/>
        </p:nvSpPr>
        <p:spPr>
          <a:xfrm>
            <a:off x="0" y="1322961"/>
            <a:ext cx="6478619" cy="4912721"/>
          </a:xfrm>
          <a:prstGeom prst="rect">
            <a:avLst/>
          </a:prstGeom>
          <a:solidFill>
            <a:schemeClr val="accent5"/>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
        <p:nvSpPr>
          <p:cNvPr id="14" name="TextBox 13">
            <a:extLst>
              <a:ext uri="{FF2B5EF4-FFF2-40B4-BE49-F238E27FC236}">
                <a16:creationId xmlns:a16="http://schemas.microsoft.com/office/drawing/2014/main" id="{B9B1B930-E888-1491-14D1-EBDA55C88B4C}"/>
              </a:ext>
            </a:extLst>
          </p:cNvPr>
          <p:cNvSpPr txBox="1"/>
          <p:nvPr/>
        </p:nvSpPr>
        <p:spPr>
          <a:xfrm>
            <a:off x="609231" y="1668507"/>
            <a:ext cx="5703878" cy="4663440"/>
          </a:xfrm>
          <a:prstGeom prst="rect">
            <a:avLst/>
          </a:prstGeom>
          <a:noFill/>
        </p:spPr>
        <p:txBody>
          <a:bodyPr wrap="square" lIns="0">
            <a:spAutoFit/>
          </a:bodyPr>
          <a:lstStyle/>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tr-TR" sz="2000" b="0" i="0" strike="noStrike" cap="none" spc="0" baseline="0">
                <a:solidFill>
                  <a:srgbClr val="FFFFFF"/>
                </a:solidFill>
                <a:effectLst/>
                <a:latin typeface="Calibri"/>
                <a:ea typeface="Calibri"/>
                <a:cs typeface="Calibri"/>
              </a:rPr>
              <a:t>Metodolojinizi ve değişikliklerinizi belgelemek için bir izleme protokolü oluşturun</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tr-TR" sz="2000" b="0" i="0" strike="noStrike" cap="none" spc="0" baseline="0">
                <a:solidFill>
                  <a:srgbClr val="FFFFFF"/>
                </a:solidFill>
                <a:effectLst/>
                <a:latin typeface="Calibri"/>
                <a:ea typeface="Calibri"/>
                <a:cs typeface="Calibri"/>
              </a:rPr>
              <a:t>Kurumsal Kapsam 1+2 emisyonlarınızın üçüncü taraf doğrulamasını alın</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tr-TR" sz="2000" b="0" i="0" strike="noStrike" cap="none" spc="0" baseline="0">
                <a:solidFill>
                  <a:srgbClr val="FFFFFF"/>
                </a:solidFill>
                <a:effectLst/>
                <a:latin typeface="Calibri"/>
                <a:ea typeface="Calibri"/>
                <a:cs typeface="Calibri"/>
              </a:rPr>
              <a:t>Kapsam 1+2 emisyonları (ve sonra Kapsam 3 emisyonları) için Bilim Temelli bir Hedef belirleyin</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tr-TR" sz="2000" b="0" i="0" strike="noStrike" cap="none" spc="0" baseline="0">
                <a:solidFill>
                  <a:srgbClr val="FFFFFF"/>
                </a:solidFill>
                <a:effectLst/>
                <a:latin typeface="Calibri"/>
                <a:ea typeface="Calibri"/>
                <a:cs typeface="Calibri"/>
              </a:rPr>
              <a:t>Emisyon azaltma ilerlemesini ölçmek için emisyonları takip edin</a:t>
            </a:r>
          </a:p>
          <a:p>
            <a:pPr marL="233363" marR="0" lvl="0" indent="-233363" algn="l" defTabSz="914400" rtl="0" eaLnBrk="1" fontAlgn="auto" latinLnBrk="0" hangingPunct="1">
              <a:lnSpc>
                <a:spcPct val="100000"/>
              </a:lnSpc>
              <a:spcBef>
                <a:spcPts val="3000"/>
              </a:spcBef>
              <a:spcAft>
                <a:spcPct val="0"/>
              </a:spcAft>
              <a:buClrTx/>
              <a:buSzTx/>
              <a:buFont typeface="Arial" panose="020B0604020202020204" pitchFamily="34" charset="0"/>
              <a:buChar char="•"/>
              <a:defRPr/>
            </a:pPr>
            <a:r>
              <a:rPr lang="tr-TR" sz="2000" b="0" i="0" strike="noStrike" cap="none" spc="0" baseline="0">
                <a:solidFill>
                  <a:srgbClr val="FFFFFF"/>
                </a:solidFill>
                <a:effectLst/>
                <a:latin typeface="Calibri"/>
                <a:ea typeface="Calibri"/>
                <a:cs typeface="Calibri"/>
              </a:rPr>
              <a:t>Zaman içinde doğruluğu artırmak için yaklaşımı revize edin</a:t>
            </a:r>
          </a:p>
        </p:txBody>
      </p:sp>
      <p:cxnSp>
        <p:nvCxnSpPr>
          <p:cNvPr id="18" name="Straight Connector 17">
            <a:extLst>
              <a:ext uri="{FF2B5EF4-FFF2-40B4-BE49-F238E27FC236}">
                <a16:creationId xmlns:a16="http://schemas.microsoft.com/office/drawing/2014/main" id="{F13DB6F2-C788-C5AC-9248-8FB1FA2BDCAB}"/>
              </a:ext>
            </a:extLst>
          </p:cNvPr>
          <p:cNvCxnSpPr/>
          <p:nvPr/>
        </p:nvCxnSpPr>
        <p:spPr>
          <a:xfrm>
            <a:off x="359920" y="2543504"/>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506B41F-E192-D51B-68EA-6E75E47167CC}"/>
              </a:ext>
            </a:extLst>
          </p:cNvPr>
          <p:cNvCxnSpPr/>
          <p:nvPr/>
        </p:nvCxnSpPr>
        <p:spPr>
          <a:xfrm>
            <a:off x="368244" y="3468973"/>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0B4E0BA-B3D3-AAC6-6B30-C2E431FD1F6D}"/>
              </a:ext>
            </a:extLst>
          </p:cNvPr>
          <p:cNvCxnSpPr/>
          <p:nvPr/>
        </p:nvCxnSpPr>
        <p:spPr>
          <a:xfrm>
            <a:off x="368244" y="4468909"/>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A60AC3-48B9-062E-E9E3-61EC840BC733}"/>
              </a:ext>
            </a:extLst>
          </p:cNvPr>
          <p:cNvCxnSpPr/>
          <p:nvPr/>
        </p:nvCxnSpPr>
        <p:spPr>
          <a:xfrm>
            <a:off x="368244" y="5458782"/>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Arrow: Bent 5">
            <a:extLst>
              <a:ext uri="{FF2B5EF4-FFF2-40B4-BE49-F238E27FC236}">
                <a16:creationId xmlns:a16="http://schemas.microsoft.com/office/drawing/2014/main" id="{9A62B672-D4A8-11B9-6DE5-A5626B9EC4BD}"/>
              </a:ext>
            </a:extLst>
          </p:cNvPr>
          <p:cNvSpPr/>
          <p:nvPr/>
        </p:nvSpPr>
        <p:spPr>
          <a:xfrm>
            <a:off x="359923" y="1673157"/>
            <a:ext cx="6086570" cy="4562526"/>
          </a:xfrm>
          <a:prstGeom prst="bentArrow">
            <a:avLst>
              <a:gd name="adj1" fmla="val 0"/>
              <a:gd name="adj2" fmla="val 0"/>
              <a:gd name="adj3" fmla="val 25000"/>
              <a:gd name="adj4" fmla="val 0"/>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20784122-2462-DE53-E9C7-27DBC95E7F86}"/>
              </a:ext>
            </a:extLst>
          </p:cNvPr>
          <p:cNvSpPr/>
          <p:nvPr/>
        </p:nvSpPr>
        <p:spPr>
          <a:xfrm>
            <a:off x="6478621" y="1209249"/>
            <a:ext cx="5713379" cy="5140147"/>
          </a:xfrm>
          <a:prstGeom prst="rect">
            <a:avLst/>
          </a:prstGeom>
          <a:solidFill>
            <a:schemeClr val="bg1"/>
          </a:solidFill>
          <a:ln>
            <a:noFill/>
          </a:ln>
          <a:effectLst>
            <a:outerShdw blurRad="63500" algn="ctr" rotWithShape="0">
              <a:schemeClr val="bg1">
                <a:lumMod val="6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16DE6CE-E274-AA76-8E4A-DE3BEAAD78F1}"/>
              </a:ext>
            </a:extLst>
          </p:cNvPr>
          <p:cNvGrpSpPr/>
          <p:nvPr/>
        </p:nvGrpSpPr>
        <p:grpSpPr>
          <a:xfrm>
            <a:off x="6588278" y="1330020"/>
            <a:ext cx="5449433" cy="4898605"/>
            <a:chOff x="6588278" y="1357245"/>
            <a:chExt cx="5449433" cy="4898605"/>
          </a:xfrm>
        </p:grpSpPr>
        <p:pic>
          <p:nvPicPr>
            <p:cNvPr id="8" name="Picture 7">
              <a:extLst>
                <a:ext uri="{FF2B5EF4-FFF2-40B4-BE49-F238E27FC236}">
                  <a16:creationId xmlns:a16="http://schemas.microsoft.com/office/drawing/2014/main" id="{B3659805-92F9-BC0F-30AB-56A31E35312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588278" y="1357245"/>
              <a:ext cx="2628162" cy="3428999"/>
            </a:xfrm>
            <a:prstGeom prst="rect">
              <a:avLst/>
            </a:prstGeom>
          </p:spPr>
        </p:pic>
        <p:pic>
          <p:nvPicPr>
            <p:cNvPr id="9" name="Picture 8">
              <a:extLst>
                <a:ext uri="{FF2B5EF4-FFF2-40B4-BE49-F238E27FC236}">
                  <a16:creationId xmlns:a16="http://schemas.microsoft.com/office/drawing/2014/main" id="{F0CBEBA6-756E-761F-632C-8908B0D89F10}"/>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9224765" y="2922670"/>
              <a:ext cx="2812946" cy="3333180"/>
            </a:xfrm>
            <a:prstGeom prst="rect">
              <a:avLst/>
            </a:prstGeom>
            <a:ln w="6350">
              <a:solidFill>
                <a:srgbClr val="000099"/>
              </a:solidFill>
            </a:ln>
          </p:spPr>
        </p:pic>
      </p:grpSp>
      <p:sp>
        <p:nvSpPr>
          <p:cNvPr id="23" name="TextBox 22">
            <a:extLst>
              <a:ext uri="{FF2B5EF4-FFF2-40B4-BE49-F238E27FC236}">
                <a16:creationId xmlns:a16="http://schemas.microsoft.com/office/drawing/2014/main" id="{8C44371C-9B91-E5CC-BE06-66CA132A9EE7}"/>
              </a:ext>
            </a:extLst>
          </p:cNvPr>
          <p:cNvSpPr txBox="1"/>
          <p:nvPr/>
        </p:nvSpPr>
        <p:spPr>
          <a:xfrm>
            <a:off x="6391072" y="1322961"/>
            <a:ext cx="87547" cy="4912721"/>
          </a:xfrm>
          <a:prstGeom prst="rect">
            <a:avLst/>
          </a:prstGeom>
          <a:solidFill>
            <a:schemeClr val="accent5">
              <a:lumMod val="75000"/>
            </a:schemeClr>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Tree>
    <p:extLst>
      <p:ext uri="{BB962C8B-B14F-4D97-AF65-F5344CB8AC3E}">
        <p14:creationId xmlns:p14="http://schemas.microsoft.com/office/powerpoint/2010/main" val="388275753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606425" y="703110"/>
            <a:ext cx="6276095" cy="5307398"/>
          </a:xfrm>
        </p:spPr>
        <p:txBody>
          <a:bodyPr anchor="ctr"/>
          <a:lstStyle/>
          <a:p>
            <a:pPr marL="0" indent="0">
              <a:buNone/>
            </a:pPr>
            <a:r>
              <a:rPr lang="tr-TR" sz="6000" b="1" i="0" strike="noStrike" cap="none" spc="0" baseline="0">
                <a:solidFill>
                  <a:srgbClr val="FFFFFF"/>
                </a:solidFill>
                <a:effectLst/>
                <a:latin typeface="Calibri"/>
                <a:ea typeface="Calibri"/>
                <a:cs typeface="Calibri"/>
              </a:rPr>
              <a:t>6. PepsiCo Soruları ve Ek Kaynakları</a:t>
            </a:r>
          </a:p>
        </p:txBody>
      </p:sp>
    </p:spTree>
    <p:extLst>
      <p:ext uri="{BB962C8B-B14F-4D97-AF65-F5344CB8AC3E}">
        <p14:creationId xmlns:p14="http://schemas.microsoft.com/office/powerpoint/2010/main" val="85050326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r>
              <a:rPr lang="tr-TR" sz="3200" b="1" i="0" strike="noStrike" cap="none" spc="-20" baseline="0">
                <a:solidFill>
                  <a:srgbClr val="FFFFFF"/>
                </a:solidFill>
                <a:effectLst/>
                <a:latin typeface="Calibri"/>
                <a:ea typeface="Calibri"/>
                <a:cs typeface="Calibri"/>
              </a:rPr>
              <a:t>Özetle Sizden İstediklerimiz</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6253224" y="3288840"/>
            <a:ext cx="5764572" cy="1393295"/>
          </a:xfrm>
        </p:spPr>
        <p:txBody>
          <a:bodyPr>
            <a:noAutofit/>
          </a:bodyPr>
          <a:lstStyle/>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tr-TR" sz="1600" b="0" i="0" strike="noStrike" cap="none" spc="0" baseline="0">
                <a:solidFill>
                  <a:srgbClr val="000000"/>
                </a:solidFill>
                <a:effectLst/>
                <a:latin typeface="Arial"/>
                <a:ea typeface="Arial"/>
                <a:cs typeface="Arial"/>
              </a:rPr>
              <a:t>Uygunsa, </a:t>
            </a:r>
            <a:r>
              <a:rPr lang="tr-TR" sz="1600" b="1" i="0" strike="noStrike" cap="none" spc="0" baseline="0">
                <a:solidFill>
                  <a:srgbClr val="133CCF"/>
                </a:solidFill>
                <a:effectLst/>
                <a:latin typeface="Arial"/>
                <a:ea typeface="Arial"/>
                <a:cs typeface="Arial"/>
              </a:rPr>
              <a:t>Guidehouse’un İklim Geçişinde Tedarikçi Liderliği</a:t>
            </a:r>
            <a:r>
              <a:rPr lang="tr-TR" sz="1600" b="0" i="0" strike="noStrike" cap="none" spc="0" baseline="0">
                <a:solidFill>
                  <a:srgbClr val="133CCF"/>
                </a:solidFill>
                <a:effectLst/>
                <a:latin typeface="Arial"/>
                <a:ea typeface="Arial"/>
                <a:cs typeface="Arial"/>
              </a:rPr>
              <a:t> (SLoCT) </a:t>
            </a:r>
            <a:r>
              <a:rPr lang="tr-TR" sz="1600" b="0" i="0" strike="noStrike" cap="none" spc="0" baseline="0">
                <a:solidFill>
                  <a:srgbClr val="000000"/>
                </a:solidFill>
                <a:effectLst/>
                <a:latin typeface="Arial"/>
                <a:ea typeface="Arial"/>
                <a:cs typeface="Arial"/>
              </a:rPr>
              <a:t>programına katılın. Davet edilmek için PepsiCo irtibat kişinize ulaşın; davet edilirseniz </a:t>
            </a:r>
            <a:r>
              <a:rPr lang="tr-TR" sz="1400" b="0" i="0" strike="noStrike" cap="none" spc="0" baseline="0">
                <a:solidFill>
                  <a:srgbClr val="000000"/>
                </a:solidFill>
                <a:effectLst/>
                <a:latin typeface="Arial"/>
                <a:ea typeface="Arial"/>
                <a:cs typeface="Arial"/>
                <a:hlinkClick r:id="rId2" history="0"/>
              </a:rPr>
              <a:t>loctpartners@guidehouse.com</a:t>
            </a:r>
            <a:r>
              <a:rPr lang="tr-TR" sz="1400" b="0" i="0" strike="noStrike" cap="none" spc="0" baseline="0">
                <a:solidFill>
                  <a:srgbClr val="000000"/>
                </a:solidFill>
                <a:effectLst/>
                <a:latin typeface="Arial"/>
                <a:ea typeface="Arial"/>
                <a:cs typeface="Arial"/>
              </a:rPr>
              <a:t> </a:t>
            </a:r>
            <a:r>
              <a:rPr lang="tr-TR" sz="1600" b="0" i="0" strike="noStrike" cap="none" spc="0" baseline="0">
                <a:solidFill>
                  <a:srgbClr val="000000"/>
                </a:solidFill>
                <a:effectLst/>
                <a:latin typeface="Arial"/>
                <a:ea typeface="Arial"/>
                <a:cs typeface="Arial"/>
              </a:rPr>
              <a:t>adresinden e-posta isteyin</a:t>
            </a:r>
            <a:endParaRPr lang="en-US" sz="1600">
              <a:solidFill>
                <a:prstClr val="black"/>
              </a:solidFill>
              <a:latin typeface="Arial"/>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a:off x="588599" y="1379839"/>
            <a:ext cx="5491578" cy="1511230"/>
            <a:chOff x="1235075" y="1253387"/>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35075" y="1253387"/>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267995" y="1310857"/>
              <a:ext cx="6097343"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Arial"/>
                  <a:ea typeface="Arial"/>
                  <a:cs typeface="Arial"/>
                </a:rPr>
                <a:t>2023 Sonuna Kadar</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600" b="1" i="0" strike="noStrike" cap="none" spc="0" baseline="0">
                  <a:solidFill>
                    <a:srgbClr val="FFFFFF"/>
                  </a:solidFill>
                  <a:effectLst/>
                  <a:latin typeface="Arial"/>
                  <a:ea typeface="Arial"/>
                  <a:cs typeface="Arial"/>
                </a:rPr>
                <a:t>Kapsam 1 ve 2 emisyonlarınızın bize düşen kısmını sağlayın</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a:off x="588599" y="3006830"/>
            <a:ext cx="5533601"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Arial"/>
                  <a:ea typeface="Arial"/>
                  <a:cs typeface="Arial"/>
                </a:rPr>
                <a:t>2023 Sonuna Kadar</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329911"/>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600" b="1" i="0" strike="noStrike" cap="none" spc="0" baseline="0">
                  <a:solidFill>
                    <a:srgbClr val="1A4A5D"/>
                  </a:solidFill>
                  <a:effectLst/>
                  <a:latin typeface="Arial"/>
                  <a:ea typeface="Arial"/>
                  <a:cs typeface="Arial"/>
                </a:rPr>
                <a:t>Bilime Dayalı Hedef belirlemeyi taahhüt edin</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6253224" y="1503451"/>
            <a:ext cx="5661752" cy="1200329"/>
          </a:xfrm>
          <a:prstGeom prst="rect">
            <a:avLst/>
          </a:prstGeom>
          <a:noFill/>
        </p:spPr>
        <p:txBody>
          <a:bodyPr wrap="square">
            <a:noAutofit/>
          </a:bodyPr>
          <a:lstStyle/>
          <a:p>
            <a:pPr marL="285750" indent="-285750">
              <a:buFont typeface="Arial" panose="020B0604020202020204" pitchFamily="34" charset="0"/>
              <a:buChar char="•"/>
            </a:pPr>
            <a:r>
              <a:rPr lang="tr-TR" sz="1600" b="1" i="0" strike="noStrike" cap="none" spc="0" baseline="0">
                <a:solidFill>
                  <a:srgbClr val="133CCF"/>
                </a:solidFill>
                <a:effectLst/>
                <a:latin typeface="Arial"/>
                <a:ea typeface="Arial"/>
                <a:cs typeface="Arial"/>
              </a:rPr>
              <a:t>Sürdürülebilirlik Eylem Merkezini</a:t>
            </a:r>
            <a:r>
              <a:rPr lang="tr-TR" sz="1600" b="0" i="0" strike="noStrike" cap="none" spc="0" baseline="0">
                <a:solidFill>
                  <a:srgbClr val="133CCF"/>
                </a:solidFill>
                <a:effectLst/>
                <a:latin typeface="Arial"/>
                <a:ea typeface="Arial"/>
                <a:cs typeface="Arial"/>
              </a:rPr>
              <a:t> </a:t>
            </a:r>
            <a:r>
              <a:rPr lang="tr-TR" sz="1600" b="0" i="0" strike="noStrike" cap="none" spc="0" baseline="0">
                <a:solidFill>
                  <a:srgbClr val="000000"/>
                </a:solidFill>
                <a:effectLst/>
                <a:latin typeface="Arial"/>
                <a:ea typeface="Arial"/>
                <a:cs typeface="Arial"/>
              </a:rPr>
              <a:t>ziyaret edin ve Kapsam 1 ve 2 emisyonlarınızı hesaplamak için kaynakları edinin </a:t>
            </a:r>
            <a:r>
              <a:rPr lang="tr-TR" sz="1600" b="0" i="0" strike="noStrike" cap="none" spc="0" baseline="0">
                <a:solidFill>
                  <a:srgbClr val="000000"/>
                </a:solidFill>
                <a:effectLst/>
                <a:latin typeface="Arial"/>
                <a:ea typeface="Arial"/>
                <a:cs typeface="Arial"/>
                <a:hlinkClick r:id="rId3" history="0"/>
              </a:rPr>
              <a:t>https://sustainabilityaction.pepsico.com/</a:t>
            </a:r>
            <a:endParaRPr kumimoji="0" lang="en-US" sz="1600" i="0" u="none" strike="noStrike" kern="1200" cap="none" spc="0" normalizeH="0" baseline="0" noProof="0">
              <a:ln>
                <a:noFill/>
              </a:ln>
              <a:effectLst/>
              <a:uLnTx/>
              <a:uFillTx/>
              <a:latin typeface="Arial"/>
              <a:ea typeface="+mn-ea"/>
              <a:cs typeface="Arial"/>
            </a:endParaRPr>
          </a:p>
          <a:p>
            <a:pPr marL="285750" indent="-285750">
              <a:buFont typeface="Arial" panose="020B0604020202020204" pitchFamily="34" charset="0"/>
              <a:buChar char="•"/>
            </a:pPr>
            <a:endParaRPr kumimoji="0" lang="en-US" sz="1700" i="0" u="none" strike="noStrike" kern="1200" cap="none" spc="0" normalizeH="0" baseline="0" noProof="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a:off x="551587" y="4682135"/>
            <a:ext cx="5533601"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Arial"/>
                  <a:ea typeface="Arial"/>
                  <a:cs typeface="Arial"/>
                </a:rPr>
                <a:t>2023 Sonuna Kadar</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302360" y="5001545"/>
              <a:ext cx="5929730" cy="809781"/>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600" b="1" i="0" strike="noStrike" cap="none" spc="0" baseline="0">
                  <a:solidFill>
                    <a:srgbClr val="1A4A5D"/>
                  </a:solidFill>
                  <a:effectLst/>
                  <a:latin typeface="Arial"/>
                  <a:ea typeface="Arial"/>
                  <a:cs typeface="Arial"/>
                </a:rPr>
                <a:t>Yenilenebilir Elektrik'e geçiş – </a:t>
              </a:r>
            </a:p>
            <a:p>
              <a:pPr marL="0" marR="0" lvl="0" indent="0" defTabSz="914400" eaLnBrk="1" fontAlgn="auto" latinLnBrk="0" hangingPunct="1">
                <a:lnSpc>
                  <a:spcPct val="100000"/>
                </a:lnSpc>
                <a:spcBef>
                  <a:spcPct val="0"/>
                </a:spcBef>
                <a:spcAft>
                  <a:spcPct val="0"/>
                </a:spcAft>
                <a:buClrTx/>
                <a:buSzTx/>
                <a:buFontTx/>
                <a:buNone/>
                <a:defRPr/>
              </a:pPr>
              <a:r>
                <a:rPr lang="tr-TR" sz="1600" b="1" i="0" strike="noStrike" cap="none" spc="0" baseline="0">
                  <a:solidFill>
                    <a:srgbClr val="1A4A5D"/>
                  </a:solidFill>
                  <a:effectLst/>
                  <a:latin typeface="Arial"/>
                  <a:ea typeface="Arial"/>
                  <a:cs typeface="Arial"/>
                </a:rPr>
                <a:t>PEP Yenilemeye Kaydol - Yenilenebilir Elektrik Hedefi Belirleme</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6253224" y="5008725"/>
            <a:ext cx="5205713" cy="923330"/>
          </a:xfrm>
          <a:prstGeom prst="rect">
            <a:avLst/>
          </a:prstGeom>
          <a:noFill/>
        </p:spPr>
        <p:txBody>
          <a:bodyPr wrap="square">
            <a:noAutofit/>
          </a:bodyPr>
          <a:lstStyle/>
          <a:p>
            <a:pPr marL="285750" indent="-285750">
              <a:buFont typeface="Arial" panose="020B0604020202020204" pitchFamily="34" charset="0"/>
              <a:buChar char="•"/>
            </a:pPr>
            <a:r>
              <a:rPr lang="tr-TR" sz="1600" b="0" i="0" strike="noStrike" cap="none" spc="0" baseline="0">
                <a:solidFill>
                  <a:srgbClr val="000000"/>
                </a:solidFill>
                <a:effectLst/>
                <a:latin typeface="Arial"/>
                <a:ea typeface="Arial"/>
                <a:cs typeface="Arial"/>
              </a:rPr>
              <a:t>PEP hacimleri için %100 yenilenebilir elektrik elde etmek için bir yol geliştirin. </a:t>
            </a:r>
            <a:r>
              <a:rPr lang="tr-TR" sz="1600" b="1" i="0" strike="noStrike" cap="none" spc="0" baseline="0">
                <a:solidFill>
                  <a:srgbClr val="133CCF"/>
                </a:solidFill>
                <a:effectLst/>
                <a:latin typeface="Arial"/>
                <a:ea typeface="Arial"/>
                <a:cs typeface="Arial"/>
              </a:rPr>
              <a:t>PEP REnew programına katılın </a:t>
            </a:r>
            <a:r>
              <a:rPr lang="tr-TR" sz="1600" b="0" i="0" strike="noStrike" cap="none" spc="0" baseline="0">
                <a:solidFill>
                  <a:srgbClr val="000000"/>
                </a:solidFill>
                <a:effectLst/>
                <a:latin typeface="Arial"/>
                <a:ea typeface="Arial"/>
                <a:cs typeface="Arial"/>
              </a:rPr>
              <a:t>ve şu bağlantıdan kaydolun: </a:t>
            </a:r>
            <a:r>
              <a:rPr lang="tr-TR" sz="1600" b="1" i="0" strike="noStrike" cap="none" spc="0" baseline="0">
                <a:solidFill>
                  <a:srgbClr val="FFC62C"/>
                </a:solidFill>
                <a:effectLst/>
                <a:latin typeface="Avenir Next LT Pro"/>
                <a:ea typeface="Avenir Next LT Pro"/>
                <a:cs typeface="Avenir Next LT Pro"/>
                <a:hlinkClick r:id="rId4" history="0"/>
              </a:rPr>
              <a:t>pep+ REnew</a:t>
            </a:r>
            <a:r>
              <a:rPr lang="tr-TR" sz="1600" b="1" i="0" strike="noStrike" cap="none" spc="0" baseline="0">
                <a:solidFill>
                  <a:srgbClr val="FFC62C"/>
                </a:solidFill>
                <a:effectLst/>
                <a:latin typeface="Avenir Next LT Pro"/>
                <a:ea typeface="Avenir Next LT Pro"/>
                <a:cs typeface="Avenir Next LT Pro"/>
              </a:rPr>
              <a:t> </a:t>
            </a:r>
          </a:p>
          <a:p>
            <a:pPr marL="285750" indent="-285750">
              <a:buFont typeface="Arial" panose="020B0604020202020204" pitchFamily="34" charset="0"/>
              <a:buChar char="•"/>
            </a:pPr>
            <a:endParaRPr kumimoji="0" lang="en-US" sz="1600" b="1" i="0" u="none" strike="noStrike" kern="1200" cap="none" spc="0" normalizeH="0" baseline="0" noProof="0">
              <a:ln>
                <a:noFill/>
              </a:ln>
              <a:solidFill>
                <a:srgbClr val="FFC62C"/>
              </a:solidFill>
              <a:effectLst/>
              <a:uLnTx/>
              <a:uFillTx/>
              <a:latin typeface="Avenir Next LT Pro" panose="020B0504020202020204" pitchFamily="34" charset="0"/>
              <a:ea typeface="+mn-ea"/>
              <a:cs typeface="+mn-cs"/>
            </a:endParaRPr>
          </a:p>
          <a:p>
            <a:pPr lvl="1"/>
            <a:r>
              <a:rPr lang="tr-TR" sz="1400" b="1" i="0" strike="noStrike" cap="none" spc="0" baseline="0">
                <a:solidFill>
                  <a:srgbClr val="133CCF"/>
                </a:solidFill>
                <a:effectLst/>
                <a:latin typeface="Arial"/>
                <a:ea typeface="Arial"/>
                <a:cs typeface="Arial"/>
                <a:hlinkClick r:id="rId4" history="0"/>
              </a:rPr>
              <a:t>https://neonetworkexchange.com/peprenew</a:t>
            </a:r>
            <a:r>
              <a:rPr lang="tr-TR" sz="1400" b="1" i="0" strike="noStrike" cap="none" spc="0" baseline="0">
                <a:solidFill>
                  <a:srgbClr val="133CCF"/>
                </a:solidFill>
                <a:effectLst/>
                <a:latin typeface="Arial"/>
                <a:ea typeface="Arial"/>
                <a:cs typeface="Arial"/>
              </a:rPr>
              <a:t> </a:t>
            </a:r>
          </a:p>
        </p:txBody>
      </p:sp>
    </p:spTree>
    <p:extLst>
      <p:ext uri="{BB962C8B-B14F-4D97-AF65-F5344CB8AC3E}">
        <p14:creationId xmlns:p14="http://schemas.microsoft.com/office/powerpoint/2010/main" val="112520403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r>
              <a:rPr lang="tr-TR" sz="3200" b="1" i="0" strike="noStrike" cap="none" spc="-20" baseline="0">
                <a:solidFill>
                  <a:srgbClr val="FFFFFF"/>
                </a:solidFill>
                <a:effectLst/>
                <a:latin typeface="Calibri"/>
                <a:ea typeface="Calibri"/>
                <a:cs typeface="Calibri"/>
              </a:rPr>
              <a:t>Özetle Sizden İstediklerimiz</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6201814" y="3220446"/>
            <a:ext cx="5764572" cy="1083997"/>
          </a:xfrm>
        </p:spPr>
        <p:txBody>
          <a:bodyPr>
            <a:normAutofit lnSpcReduction="10000"/>
          </a:bodyPr>
          <a:lstStyle/>
          <a:p>
            <a:pPr algn="l"/>
            <a:endParaRPr lang="en-GB" sz="1800" b="0" i="0" u="none" strike="noStrike" baseline="0">
              <a:solidFill>
                <a:srgbClr val="000000"/>
              </a:solidFill>
              <a:latin typeface="Arial" panose="020B0604020202020204" pitchFamily="34" charset="0"/>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r>
              <a:rPr lang="tr-TR" sz="1800" b="0" i="0" strike="noStrike" cap="none" spc="0" baseline="0">
                <a:solidFill>
                  <a:srgbClr val="000000"/>
                </a:solidFill>
                <a:effectLst/>
                <a:latin typeface="Arial"/>
                <a:ea typeface="Arial"/>
                <a:cs typeface="Arial"/>
              </a:rPr>
              <a:t>Uygunsa, </a:t>
            </a:r>
            <a:r>
              <a:rPr lang="tr-TR" sz="1800" b="1" i="0" strike="noStrike" cap="none" spc="0" baseline="0">
                <a:solidFill>
                  <a:srgbClr val="133CCF"/>
                </a:solidFill>
                <a:effectLst/>
                <a:latin typeface="Arial"/>
                <a:ea typeface="Arial"/>
                <a:cs typeface="Arial"/>
              </a:rPr>
              <a:t>Guidehouse’un İklim Geçişinde Tedarikçi Liderliği programına</a:t>
            </a:r>
            <a:r>
              <a:rPr lang="tr-TR" sz="1800" b="0" i="0" strike="noStrike" cap="none" spc="0" baseline="0">
                <a:solidFill>
                  <a:srgbClr val="133CCF"/>
                </a:solidFill>
                <a:effectLst/>
                <a:latin typeface="Arial"/>
                <a:ea typeface="Arial"/>
                <a:cs typeface="Arial"/>
              </a:rPr>
              <a:t> </a:t>
            </a:r>
            <a:r>
              <a:rPr lang="tr-TR" sz="1800" b="0" i="0" strike="noStrike" cap="none" spc="0" baseline="0">
                <a:solidFill>
                  <a:srgbClr val="000000"/>
                </a:solidFill>
                <a:effectLst/>
                <a:latin typeface="Arial"/>
                <a:ea typeface="Arial"/>
                <a:cs typeface="Arial"/>
              </a:rPr>
              <a:t>katılın. Davet edilmek için PepsiCo irtibat kişinize ulaşın</a:t>
            </a:r>
            <a:endParaRPr kumimoji="0" lang="en-US" sz="1800" b="0" i="0" u="none" strike="noStrike" kern="1200" cap="none" spc="0" normalizeH="0" baseline="0" noProof="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lang="en-US" sz="1800">
              <a:solidFill>
                <a:prstClr val="black"/>
              </a:solidFill>
              <a:latin typeface="Arial"/>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a:off x="588599" y="1379839"/>
            <a:ext cx="5491578" cy="1511230"/>
            <a:chOff x="1235075" y="1253387"/>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35075" y="1253387"/>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267995" y="1310857"/>
              <a:ext cx="6097343"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Arial"/>
                  <a:ea typeface="Arial"/>
                  <a:cs typeface="Arial"/>
                </a:rPr>
                <a:t>2023 Sonuna Kadar</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600" b="1" i="0" strike="noStrike" cap="none" spc="0" baseline="0">
                  <a:solidFill>
                    <a:srgbClr val="FFFFFF"/>
                  </a:solidFill>
                  <a:effectLst/>
                  <a:latin typeface="Arial"/>
                  <a:ea typeface="Arial"/>
                  <a:cs typeface="Arial"/>
                </a:rPr>
                <a:t>Şirket genelindeki Kapsam 1 ve 2 emisyonlarınızı bildirin</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a:off x="588599" y="3006830"/>
            <a:ext cx="5533601"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Arial"/>
                  <a:ea typeface="Arial"/>
                  <a:cs typeface="Arial"/>
                </a:rPr>
                <a:t>2023 Sonuna Kadar</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329911"/>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600" b="1" i="0" strike="noStrike" cap="none" spc="0" baseline="0">
                  <a:solidFill>
                    <a:srgbClr val="1A4A5D"/>
                  </a:solidFill>
                  <a:effectLst/>
                  <a:latin typeface="Arial"/>
                  <a:ea typeface="Arial"/>
                  <a:cs typeface="Arial"/>
                </a:rPr>
                <a:t>Bilime Dayalı Hedef belirlemeyi taahhüt edin</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6253224" y="1503451"/>
            <a:ext cx="5661752" cy="1463040"/>
          </a:xfrm>
          <a:prstGeom prst="rect">
            <a:avLst/>
          </a:prstGeom>
          <a:noFill/>
        </p:spPr>
        <p:txBody>
          <a:bodyPr wrap="square">
            <a:spAutoFit/>
          </a:bodyPr>
          <a:lstStyle/>
          <a:p>
            <a:pPr marL="285750" indent="-285750">
              <a:buFont typeface="Arial" panose="020B0604020202020204" pitchFamily="34" charset="0"/>
              <a:buChar char="•"/>
            </a:pPr>
            <a:r>
              <a:rPr lang="tr-TR" sz="1800" b="1" i="0" strike="noStrike" cap="none" spc="0" baseline="0">
                <a:solidFill>
                  <a:srgbClr val="133CCF"/>
                </a:solidFill>
                <a:effectLst/>
                <a:latin typeface="Arial"/>
                <a:ea typeface="Arial"/>
                <a:cs typeface="Arial"/>
              </a:rPr>
              <a:t>Sürdürülebilirlik Eylem Merkezini</a:t>
            </a:r>
            <a:r>
              <a:rPr lang="tr-TR" sz="1800" b="0" i="0" strike="noStrike" cap="none" spc="0" baseline="0">
                <a:solidFill>
                  <a:srgbClr val="133CCF"/>
                </a:solidFill>
                <a:effectLst/>
                <a:latin typeface="Arial"/>
                <a:ea typeface="Arial"/>
                <a:cs typeface="Arial"/>
              </a:rPr>
              <a:t> </a:t>
            </a:r>
            <a:r>
              <a:rPr lang="tr-TR" sz="1800" b="0" i="0" strike="noStrike" cap="none" spc="0" baseline="0">
                <a:solidFill>
                  <a:srgbClr val="000000"/>
                </a:solidFill>
                <a:effectLst/>
                <a:latin typeface="Arial"/>
                <a:ea typeface="Arial"/>
                <a:cs typeface="Arial"/>
              </a:rPr>
              <a:t>ziyaret edin ve Kapsam 1 ve 2 emisyonlarınızı hesaplamak için kaynakları edinin </a:t>
            </a:r>
            <a:r>
              <a:rPr lang="tr-TR" sz="1800" b="0" i="0" strike="noStrike" cap="none" spc="0" baseline="0">
                <a:solidFill>
                  <a:srgbClr val="000000"/>
                </a:solidFill>
                <a:effectLst/>
                <a:latin typeface="Arial"/>
                <a:ea typeface="Arial"/>
                <a:cs typeface="Arial"/>
                <a:hlinkClick r:id="rId2" history="0"/>
              </a:rPr>
              <a:t>https://sustainabilityaction.pepsico.com/</a:t>
            </a:r>
            <a:endParaRPr kumimoji="0" lang="en-US" sz="1800" i="0" u="none" strike="noStrike" kern="1200" cap="none" spc="0" normalizeH="0" baseline="0" noProof="0">
              <a:ln>
                <a:noFill/>
              </a:ln>
              <a:effectLst/>
              <a:uLnTx/>
              <a:uFillTx/>
              <a:latin typeface="Arial"/>
              <a:ea typeface="+mn-ea"/>
              <a:cs typeface="Arial"/>
            </a:endParaRPr>
          </a:p>
          <a:p>
            <a:pPr marL="285750" indent="-285750">
              <a:buFont typeface="Arial" panose="020B0604020202020204" pitchFamily="34" charset="0"/>
              <a:buChar char="•"/>
            </a:pPr>
            <a:endParaRPr kumimoji="0" lang="en-US" sz="1800" i="0" u="none" strike="noStrike" kern="1200" cap="none" spc="0" normalizeH="0" baseline="0" noProof="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a:off x="551587" y="4682135"/>
            <a:ext cx="5533601"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5" y="4564493"/>
              <a:ext cx="6136582"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Arial"/>
                  <a:ea typeface="Arial"/>
                  <a:cs typeface="Arial"/>
                </a:rPr>
                <a:t>2023 Sonuna Kadar</a:t>
              </a:r>
              <a:endParaRPr kumimoji="0" lang="en-US" sz="1800" b="1" i="0" u="none" strike="noStrike" kern="0" cap="none" spc="0" normalizeH="0" baseline="0" noProof="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267994" y="5315583"/>
              <a:ext cx="5929730" cy="569845"/>
            </a:xfrm>
            <a:prstGeom prst="rect">
              <a:avLst/>
            </a:prstGeom>
            <a:grpFill/>
          </p:spPr>
          <p:txBody>
            <a:bodyPr wrap="square">
              <a:spAutoFit/>
            </a:bodyPr>
            <a:lstStyle/>
            <a:p>
              <a:pPr marL="0" marR="0" lvl="0" indent="0" defTabSz="914400" eaLnBrk="1" fontAlgn="auto" latinLnBrk="0" hangingPunct="1">
                <a:lnSpc>
                  <a:spcPct val="100000"/>
                </a:lnSpc>
                <a:spcBef>
                  <a:spcPct val="0"/>
                </a:spcBef>
                <a:spcAft>
                  <a:spcPct val="0"/>
                </a:spcAft>
                <a:buClrTx/>
                <a:buSzTx/>
                <a:buFontTx/>
                <a:buNone/>
                <a:defRPr/>
              </a:pPr>
              <a:r>
                <a:rPr lang="tr-TR" sz="1600" b="1" i="0" strike="noStrike" cap="none" spc="0" baseline="0">
                  <a:solidFill>
                    <a:srgbClr val="1A4A5D"/>
                  </a:solidFill>
                  <a:effectLst/>
                  <a:latin typeface="Arial"/>
                  <a:ea typeface="Arial"/>
                  <a:cs typeface="Arial"/>
                </a:rPr>
                <a:t>Yenilenebilir Elektrik Hedefi belirlemeyi taahhüt edin</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6253224" y="5213756"/>
            <a:ext cx="5205713" cy="1188720"/>
          </a:xfrm>
          <a:prstGeom prst="rect">
            <a:avLst/>
          </a:prstGeom>
          <a:noFill/>
        </p:spPr>
        <p:txBody>
          <a:bodyPr wrap="square">
            <a:spAutoFit/>
          </a:bodyPr>
          <a:lstStyle/>
          <a:p>
            <a:pPr marL="285750" indent="-285750">
              <a:buFont typeface="Arial" panose="020B0604020202020204" pitchFamily="34" charset="0"/>
              <a:buChar char="•"/>
            </a:pPr>
            <a:r>
              <a:rPr lang="tr-TR" sz="1800" b="0" i="0" strike="noStrike" cap="none" spc="0" baseline="0">
                <a:solidFill>
                  <a:srgbClr val="000000"/>
                </a:solidFill>
                <a:effectLst/>
                <a:latin typeface="Arial"/>
                <a:ea typeface="Arial"/>
                <a:cs typeface="Arial"/>
              </a:rPr>
              <a:t>PEP hacimleri için %100 yenilenebilir elektrik elde etmek için bir yol geliştirin. </a:t>
            </a:r>
            <a:r>
              <a:rPr lang="tr-TR" sz="1800" b="1" i="0" strike="noStrike" cap="none" spc="0" baseline="0">
                <a:solidFill>
                  <a:srgbClr val="133CCF"/>
                </a:solidFill>
                <a:effectLst/>
                <a:latin typeface="Arial"/>
                <a:ea typeface="Arial"/>
                <a:cs typeface="Arial"/>
              </a:rPr>
              <a:t>PEP RENew programına </a:t>
            </a:r>
            <a:r>
              <a:rPr lang="tr-TR" sz="1800" b="0" i="0" strike="noStrike" cap="none" spc="0" baseline="0">
                <a:solidFill>
                  <a:srgbClr val="000000"/>
                </a:solidFill>
                <a:effectLst/>
                <a:latin typeface="Arial"/>
                <a:ea typeface="Arial"/>
                <a:cs typeface="Arial"/>
              </a:rPr>
              <a:t>katılın ve şu bağlantıdan kaydolun: </a:t>
            </a:r>
            <a:r>
              <a:rPr lang="tr-TR" sz="1700" b="1" i="0" strike="noStrike" cap="none" spc="0" baseline="0">
                <a:solidFill>
                  <a:srgbClr val="FFC62C"/>
                </a:solidFill>
                <a:effectLst/>
                <a:latin typeface="Avenir Next LT Pro"/>
                <a:ea typeface="Avenir Next LT Pro"/>
                <a:cs typeface="Avenir Next LT Pro"/>
                <a:hlinkClick r:id="rId3" history="0"/>
              </a:rPr>
              <a:t>pep+ REnew</a:t>
            </a:r>
            <a:r>
              <a:rPr lang="tr-TR" sz="1700" b="1" i="0" strike="noStrike" cap="none" spc="0" baseline="0">
                <a:solidFill>
                  <a:srgbClr val="FFC62C"/>
                </a:solidFill>
                <a:effectLst/>
                <a:latin typeface="Avenir Next LT Pro"/>
                <a:ea typeface="Avenir Next LT Pro"/>
                <a:cs typeface="Avenir Next LT Pro"/>
              </a:rPr>
              <a:t> </a:t>
            </a:r>
            <a:endParaRPr lang="en-GB" sz="1800" b="1">
              <a:solidFill>
                <a:srgbClr val="133CCF"/>
              </a:solidFill>
              <a:latin typeface="Arial"/>
              <a:cs typeface="Arial"/>
            </a:endParaRPr>
          </a:p>
        </p:txBody>
      </p:sp>
    </p:spTree>
    <p:extLst>
      <p:ext uri="{BB962C8B-B14F-4D97-AF65-F5344CB8AC3E}">
        <p14:creationId xmlns:p14="http://schemas.microsoft.com/office/powerpoint/2010/main" val="349626271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C425CB8D-9778-0EA4-068A-7EB39FD22F8F}"/>
              </a:ext>
            </a:extLst>
          </p:cNvPr>
          <p:cNvSpPr txBox="1"/>
          <p:nvPr/>
        </p:nvSpPr>
        <p:spPr>
          <a:xfrm>
            <a:off x="3221803" y="1182914"/>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sp>
        <p:nvSpPr>
          <p:cNvPr id="15" name="TextBox 14">
            <a:extLst>
              <a:ext uri="{FF2B5EF4-FFF2-40B4-BE49-F238E27FC236}">
                <a16:creationId xmlns:a16="http://schemas.microsoft.com/office/drawing/2014/main" id="{AA0FB9CD-F074-1CD7-EB55-1171769CB921}"/>
              </a:ext>
            </a:extLst>
          </p:cNvPr>
          <p:cNvSpPr txBox="1"/>
          <p:nvPr/>
        </p:nvSpPr>
        <p:spPr>
          <a:xfrm>
            <a:off x="6806456" y="3910629"/>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9607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Kapsam 1+2 emisyonlarını hesaplamak için ek kaynaklar</a:t>
            </a:r>
          </a:p>
        </p:txBody>
      </p:sp>
      <p:sp>
        <p:nvSpPr>
          <p:cNvPr id="6" name="TextBox 5" hidden="1">
            <a:extLst>
              <a:ext uri="{FF2B5EF4-FFF2-40B4-BE49-F238E27FC236}">
                <a16:creationId xmlns:a16="http://schemas.microsoft.com/office/drawing/2014/main" id="{E34AC489-2F80-D343-380C-479A00956516}"/>
              </a:ext>
            </a:extLst>
          </p:cNvPr>
          <p:cNvSpPr txBox="1"/>
          <p:nvPr/>
        </p:nvSpPr>
        <p:spPr>
          <a:xfrm>
            <a:off x="933254" y="2281908"/>
            <a:ext cx="8208389" cy="369332"/>
          </a:xfrm>
          <a:prstGeom prst="rect">
            <a:avLst/>
          </a:prstGeom>
          <a:noFill/>
        </p:spPr>
        <p:txBody>
          <a:bodyPr wrap="square">
            <a:spAutoFit/>
          </a:bodyPr>
          <a:lstStyle/>
          <a:p>
            <a:endParaRPr lang="en-US">
              <a:latin typeface="Calibri" panose="020F0502020204030204" pitchFamily="34" charset="0"/>
            </a:endParaRPr>
          </a:p>
        </p:txBody>
      </p:sp>
      <p:pic>
        <p:nvPicPr>
          <p:cNvPr id="24" name="Picture 23">
            <a:extLst>
              <a:ext uri="{FF2B5EF4-FFF2-40B4-BE49-F238E27FC236}">
                <a16:creationId xmlns:a16="http://schemas.microsoft.com/office/drawing/2014/main" id="{CE26C88E-91BB-87D0-0C2E-9B084E081164}"/>
              </a:ext>
            </a:extLst>
          </p:cNvPr>
          <p:cNvPicPr/>
          <p:nvPr/>
        </p:nvPicPr>
        <p:blipFill>
          <a:blip r:embed="rId6">
            <a:extLst>
              <a:ext uri="{28A0092B-C50C-407E-A947-70E740481C1C}">
                <a14:useLocalDpi xmlns:a14="http://schemas.microsoft.com/office/drawing/2010/main"/>
              </a:ext>
            </a:extLst>
          </a:blip>
          <a:stretch>
            <a:fillRect/>
          </a:stretch>
        </p:blipFill>
        <p:spPr>
          <a:xfrm>
            <a:off x="6924273" y="4048160"/>
            <a:ext cx="3231202" cy="2315122"/>
          </a:xfrm>
          <a:prstGeom prst="rect">
            <a:avLst/>
          </a:prstGeom>
          <a:effectLst>
            <a:outerShdw blurRad="63500" algn="ctr" rotWithShape="0">
              <a:schemeClr val="bg1">
                <a:lumMod val="75000"/>
                <a:alpha val="40000"/>
              </a:schemeClr>
            </a:outerShdw>
          </a:effectLst>
        </p:spPr>
      </p:pic>
      <p:pic>
        <p:nvPicPr>
          <p:cNvPr id="18" name="Picture 17">
            <a:extLst>
              <a:ext uri="{FF2B5EF4-FFF2-40B4-BE49-F238E27FC236}">
                <a16:creationId xmlns:a16="http://schemas.microsoft.com/office/drawing/2014/main" id="{CA77B67B-F61D-EFEF-22A5-A57E8E56C0E2}"/>
              </a:ext>
            </a:extLst>
          </p:cNvPr>
          <p:cNvPicPr/>
          <p:nvPr/>
        </p:nvPicPr>
        <p:blipFill>
          <a:blip r:embed="rId7">
            <a:extLst>
              <a:ext uri="{28A0092B-C50C-407E-A947-70E740481C1C}">
                <a14:useLocalDpi xmlns:a14="http://schemas.microsoft.com/office/drawing/2010/main"/>
              </a:ext>
            </a:extLst>
          </a:blip>
          <a:stretch>
            <a:fillRect/>
          </a:stretch>
        </p:blipFill>
        <p:spPr>
          <a:xfrm>
            <a:off x="3339620" y="1320445"/>
            <a:ext cx="3231202" cy="2315122"/>
          </a:xfrm>
          <a:prstGeom prst="rect">
            <a:avLst/>
          </a:prstGeom>
          <a:effectLst>
            <a:outerShdw blurRad="63500" algn="ctr" rotWithShape="0">
              <a:schemeClr val="bg1">
                <a:lumMod val="75000"/>
                <a:alpha val="40000"/>
              </a:schemeClr>
            </a:outerShdw>
          </a:effectLst>
        </p:spPr>
      </p:pic>
      <p:sp>
        <p:nvSpPr>
          <p:cNvPr id="31" name="TextBox 30">
            <a:extLst>
              <a:ext uri="{FF2B5EF4-FFF2-40B4-BE49-F238E27FC236}">
                <a16:creationId xmlns:a16="http://schemas.microsoft.com/office/drawing/2014/main" id="{6435859D-469B-745D-A609-2C3D6D96DC46}"/>
              </a:ext>
            </a:extLst>
          </p:cNvPr>
          <p:cNvSpPr txBox="1"/>
          <p:nvPr/>
        </p:nvSpPr>
        <p:spPr>
          <a:xfrm>
            <a:off x="1263578" y="1182914"/>
            <a:ext cx="1958225" cy="2590184"/>
          </a:xfrm>
          <a:prstGeom prst="rect">
            <a:avLst/>
          </a:prstGeom>
          <a:solidFill>
            <a:schemeClr val="accent5"/>
          </a:solidFill>
          <a:ln w="6350">
            <a:solidFill>
              <a:schemeClr val="accent5"/>
            </a:solidFill>
          </a:ln>
        </p:spPr>
        <p:txBody>
          <a:bodyPr wrap="square" anchor="ctr">
            <a:noAutofit/>
          </a:bodyPr>
          <a:lstStyle/>
          <a:p>
            <a:r>
              <a:rPr lang="tr-TR" sz="1800" b="0" i="0" strike="noStrike" cap="none" spc="0" baseline="0">
                <a:solidFill>
                  <a:srgbClr val="FFFFFF"/>
                </a:solidFill>
                <a:effectLst/>
                <a:latin typeface="Calibri"/>
                <a:ea typeface="Calibri"/>
                <a:cs typeface="Calibri"/>
              </a:rPr>
              <a:t>CDP </a:t>
            </a:r>
            <a:r>
              <a:rPr lang="tr-TR" sz="1800" b="1" i="0" strike="noStrike" cap="none" spc="0" baseline="0">
                <a:solidFill>
                  <a:srgbClr val="8EDB43"/>
                </a:solidFill>
                <a:effectLst/>
                <a:latin typeface="Calibri"/>
                <a:ea typeface="Calibri"/>
                <a:cs typeface="Calibri"/>
                <a:hlinkClick r:id="rId8" history="0"/>
              </a:rPr>
              <a:t>Akredite Çözüm Sağlayıcıları</a:t>
            </a:r>
            <a:r>
              <a:rPr lang="tr-TR" sz="1800" b="0" i="0" strike="noStrike" cap="none" spc="0" baseline="0">
                <a:solidFill>
                  <a:srgbClr val="8EDB43"/>
                </a:solidFill>
                <a:effectLst/>
                <a:latin typeface="Calibri"/>
                <a:ea typeface="Calibri"/>
                <a:cs typeface="Calibri"/>
              </a:rPr>
              <a:t>:</a:t>
            </a:r>
            <a:r>
              <a:rPr lang="tr-TR" sz="1800" b="0" i="0" strike="noStrike" cap="none" spc="0" baseline="0">
                <a:solidFill>
                  <a:srgbClr val="FFFFFF"/>
                </a:solidFill>
                <a:effectLst/>
                <a:latin typeface="Calibri"/>
                <a:ea typeface="Calibri"/>
                <a:cs typeface="Calibri"/>
              </a:rPr>
              <a:t> Sera Gazı Emisyon Envanteri sağlayıcıları için filtre</a:t>
            </a:r>
          </a:p>
        </p:txBody>
      </p:sp>
      <p:sp>
        <p:nvSpPr>
          <p:cNvPr id="33" name="TextBox 32">
            <a:extLst>
              <a:ext uri="{FF2B5EF4-FFF2-40B4-BE49-F238E27FC236}">
                <a16:creationId xmlns:a16="http://schemas.microsoft.com/office/drawing/2014/main" id="{0048D513-7EB0-FD05-92BB-FCC62E9C5709}"/>
              </a:ext>
            </a:extLst>
          </p:cNvPr>
          <p:cNvSpPr txBox="1"/>
          <p:nvPr/>
        </p:nvSpPr>
        <p:spPr>
          <a:xfrm>
            <a:off x="4848231" y="3910629"/>
            <a:ext cx="1958225" cy="2590184"/>
          </a:xfrm>
          <a:prstGeom prst="rect">
            <a:avLst/>
          </a:prstGeom>
          <a:solidFill>
            <a:schemeClr val="accent5"/>
          </a:solidFill>
          <a:ln w="6350">
            <a:solidFill>
              <a:schemeClr val="accent5"/>
            </a:solidFill>
          </a:ln>
        </p:spPr>
        <p:txBody>
          <a:bodyPr wrap="square" anchor="ctr">
            <a:noAutofit/>
          </a:bodyPr>
          <a:lstStyle/>
          <a:p>
            <a:r>
              <a:rPr lang="tr-TR" sz="1800" b="0" i="0" strike="noStrike" cap="none" spc="0" baseline="0">
                <a:solidFill>
                  <a:srgbClr val="FFFFFF"/>
                </a:solidFill>
                <a:effectLst/>
                <a:latin typeface="Calibri"/>
                <a:ea typeface="Calibri"/>
                <a:cs typeface="Calibri"/>
              </a:rPr>
              <a:t>Tedarikçilere sera gazı </a:t>
            </a:r>
            <a:r>
              <a:rPr lang="tr-TR" sz="1800" b="1" i="0" strike="noStrike" cap="none" spc="0" baseline="0">
                <a:solidFill>
                  <a:srgbClr val="8EDB43"/>
                </a:solidFill>
                <a:effectLst/>
                <a:latin typeface="Calibri"/>
                <a:ea typeface="Calibri"/>
                <a:cs typeface="Calibri"/>
                <a:hlinkClick r:id="rId9" history="0"/>
              </a:rPr>
              <a:t>emisyonu muhasebesi konusunda</a:t>
            </a:r>
            <a:r>
              <a:rPr lang="tr-TR" sz="1800" b="1" i="0" strike="noStrike" cap="none" spc="0" baseline="0">
                <a:solidFill>
                  <a:srgbClr val="8EDB43"/>
                </a:solidFill>
                <a:effectLst/>
                <a:latin typeface="Calibri"/>
                <a:ea typeface="Calibri"/>
                <a:cs typeface="Calibri"/>
              </a:rPr>
              <a:t> </a:t>
            </a:r>
            <a:r>
              <a:rPr lang="tr-TR" sz="1800" b="0" i="0" strike="noStrike" cap="none" spc="0" baseline="0">
                <a:solidFill>
                  <a:srgbClr val="FFFFFF"/>
                </a:solidFill>
                <a:effectLst/>
                <a:latin typeface="Calibri"/>
                <a:ea typeface="Calibri"/>
                <a:cs typeface="Calibri"/>
              </a:rPr>
              <a:t>Microsoft eğitimi (Engie Impact ve CDP ile ortaklaşa)</a:t>
            </a:r>
          </a:p>
        </p:txBody>
      </p:sp>
      <p:sp>
        <p:nvSpPr>
          <p:cNvPr id="28" name="Oval 27">
            <a:extLst>
              <a:ext uri="{FF2B5EF4-FFF2-40B4-BE49-F238E27FC236}">
                <a16:creationId xmlns:a16="http://schemas.microsoft.com/office/drawing/2014/main" id="{D9E416B8-C225-8642-5032-97708A78F78D}"/>
              </a:ext>
            </a:extLst>
          </p:cNvPr>
          <p:cNvSpPr/>
          <p:nvPr/>
        </p:nvSpPr>
        <p:spPr>
          <a:xfrm>
            <a:off x="6323891" y="6038850"/>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ym typeface="Wingdings" pitchFamily="2" charset="2"/>
              </a:rPr>
              <a:t></a:t>
            </a:r>
            <a:endParaRPr lang="en-US"/>
          </a:p>
        </p:txBody>
      </p:sp>
      <p:sp>
        <p:nvSpPr>
          <p:cNvPr id="29" name="Oval 28">
            <a:extLst>
              <a:ext uri="{FF2B5EF4-FFF2-40B4-BE49-F238E27FC236}">
                <a16:creationId xmlns:a16="http://schemas.microsoft.com/office/drawing/2014/main" id="{1751A026-37F9-6EE5-20DC-02FADAABC9AB}"/>
              </a:ext>
            </a:extLst>
          </p:cNvPr>
          <p:cNvSpPr/>
          <p:nvPr/>
        </p:nvSpPr>
        <p:spPr>
          <a:xfrm>
            <a:off x="2615314" y="3270513"/>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ym typeface="Wingdings" pitchFamily="2" charset="2"/>
              </a:rPr>
              <a:t></a:t>
            </a:r>
            <a:endParaRPr lang="en-US"/>
          </a:p>
        </p:txBody>
      </p:sp>
    </p:spTree>
    <p:extLst>
      <p:ext uri="{BB962C8B-B14F-4D97-AF65-F5344CB8AC3E}">
        <p14:creationId xmlns:p14="http://schemas.microsoft.com/office/powerpoint/2010/main" val="355880349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0F1E5-B58F-409B-858F-BF81F58BA699}"/>
              </a:ext>
            </a:extLst>
          </p:cNvPr>
          <p:cNvSpPr>
            <a:spLocks noGrp="1"/>
          </p:cNvSpPr>
          <p:nvPr>
            <p:ph type="title"/>
          </p:nvPr>
        </p:nvSpPr>
        <p:spPr/>
        <p:txBody>
          <a:bodyPr/>
          <a:lstStyle/>
          <a:p>
            <a:r>
              <a:rPr lang="tr-TR" sz="3200" b="1" i="0" strike="noStrike" cap="none" spc="-20" baseline="0">
                <a:solidFill>
                  <a:srgbClr val="FFFFFF"/>
                </a:solidFill>
                <a:effectLst/>
                <a:latin typeface="Calibri"/>
                <a:ea typeface="Calibri"/>
                <a:cs typeface="Calibri"/>
              </a:rPr>
              <a:t>Taahhüt</a:t>
            </a:r>
          </a:p>
        </p:txBody>
      </p:sp>
      <p:sp>
        <p:nvSpPr>
          <p:cNvPr id="3" name="Text Placeholder 2">
            <a:extLst>
              <a:ext uri="{FF2B5EF4-FFF2-40B4-BE49-F238E27FC236}">
                <a16:creationId xmlns:a16="http://schemas.microsoft.com/office/drawing/2014/main" id="{9DC07063-5FC9-4BF2-89BC-1AF25914B819}"/>
              </a:ext>
            </a:extLst>
          </p:cNvPr>
          <p:cNvSpPr>
            <a:spLocks noGrp="1"/>
          </p:cNvSpPr>
          <p:nvPr>
            <p:ph type="body" sz="quarter" idx="14"/>
          </p:nvPr>
        </p:nvSpPr>
        <p:spPr/>
        <p:txBody>
          <a:bodyPr/>
          <a:lstStyle/>
          <a:p>
            <a:pPr marL="0" indent="0">
              <a:buNone/>
            </a:pPr>
            <a:r>
              <a:rPr lang="tr-TR" sz="2000" b="0" i="1" strike="noStrike" cap="none" spc="0" baseline="0">
                <a:solidFill>
                  <a:srgbClr val="000000"/>
                </a:solidFill>
                <a:effectLst/>
                <a:latin typeface="Calibri"/>
                <a:ea typeface="Calibri"/>
                <a:cs typeface="Calibri"/>
              </a:rPr>
              <a:t>Bu kılavuz, PepsiCo ve diğer markalar tarafından ortaklaşa kurulan ve Guidehouse tarafından koordine edilen </a:t>
            </a:r>
            <a:r>
              <a:rPr lang="tr-TR" sz="2000" b="0" i="1" strike="noStrike" cap="none" spc="0" baseline="0">
                <a:solidFill>
                  <a:srgbClr val="FFFFFF"/>
                </a:solidFill>
                <a:effectLst/>
                <a:latin typeface="Calibri"/>
                <a:ea typeface="Calibri"/>
                <a:cs typeface="Calibri"/>
                <a:hlinkClick r:id="rId2" history="0"/>
              </a:rPr>
              <a:t>Tedarikçi İklim Geçişinde Liderlik (SLoCT)</a:t>
            </a:r>
            <a:r>
              <a:rPr lang="tr-TR" sz="2000" b="0" i="1" strike="noStrike" cap="none" spc="0" baseline="0">
                <a:solidFill>
                  <a:srgbClr val="FFFFFF"/>
                </a:solidFill>
                <a:effectLst/>
                <a:latin typeface="Calibri"/>
                <a:ea typeface="Calibri"/>
                <a:cs typeface="Calibri"/>
              </a:rPr>
              <a:t> </a:t>
            </a:r>
            <a:r>
              <a:rPr lang="tr-TR" sz="2000" b="0" i="1" strike="noStrike" cap="none" spc="0" baseline="0">
                <a:solidFill>
                  <a:srgbClr val="000000"/>
                </a:solidFill>
                <a:effectLst/>
                <a:latin typeface="Calibri"/>
                <a:ea typeface="Calibri"/>
                <a:cs typeface="Calibri"/>
              </a:rPr>
              <a:t>programından ve Microsoft'un CDP ve Engie Impact ile ortaklaşa geliştirdiği </a:t>
            </a:r>
            <a:r>
              <a:rPr lang="tr-TR" sz="2000" b="0" i="1" strike="noStrike" cap="none" spc="0" baseline="0">
                <a:solidFill>
                  <a:srgbClr val="FFFFFF"/>
                </a:solidFill>
                <a:effectLst/>
                <a:latin typeface="Calibri"/>
                <a:ea typeface="Calibri"/>
                <a:cs typeface="Calibri"/>
                <a:hlinkClick r:id="rId3" history="0"/>
              </a:rPr>
              <a:t>Microsoft’un tedarikçilere yönelik sera gazı muhasebe eğitiminden</a:t>
            </a:r>
            <a:r>
              <a:rPr lang="tr-TR" sz="2000" b="0" i="1" strike="noStrike" cap="none" spc="0" baseline="0">
                <a:solidFill>
                  <a:srgbClr val="000000"/>
                </a:solidFill>
                <a:effectLst/>
                <a:latin typeface="Calibri"/>
                <a:ea typeface="Calibri"/>
                <a:cs typeface="Calibri"/>
              </a:rPr>
              <a:t> uyarlanmıştır.</a:t>
            </a:r>
          </a:p>
          <a:p>
            <a:pPr marL="0" indent="0">
              <a:buNone/>
            </a:pPr>
            <a:endParaRPr lang="en-US" i="1">
              <a:solidFill>
                <a:schemeClr val="tx1"/>
              </a:solidFill>
            </a:endParaRPr>
          </a:p>
          <a:p>
            <a:pPr marL="0" indent="0">
              <a:buNone/>
            </a:pPr>
            <a:r>
              <a:rPr lang="tr-TR" sz="2000" b="0" i="1" strike="noStrike" cap="none" spc="0" baseline="0">
                <a:solidFill>
                  <a:srgbClr val="000000"/>
                </a:solidFill>
                <a:effectLst/>
                <a:latin typeface="Calibri"/>
                <a:ea typeface="Calibri"/>
                <a:cs typeface="Calibri"/>
              </a:rPr>
              <a:t>Kılavuz, Kurumsal Sera Gazı Muhasebesi ve Raporlaması için Sera Gazı Protokol Kılavuzuna dayanmaktadır. Tedarikçiler, Sera Gazı Protokolü Kılavuzunun tamamını </a:t>
            </a:r>
            <a:r>
              <a:rPr lang="tr-TR" sz="2000" b="0" i="1" strike="noStrike" cap="none" spc="0" baseline="0">
                <a:solidFill>
                  <a:srgbClr val="FFFFFF"/>
                </a:solidFill>
                <a:effectLst/>
                <a:latin typeface="Calibri"/>
                <a:ea typeface="Calibri"/>
                <a:cs typeface="Calibri"/>
                <a:hlinkClick r:id="rId4" history="0"/>
              </a:rPr>
              <a:t>https://ghgprotocol.org</a:t>
            </a:r>
            <a:r>
              <a:rPr lang="tr-TR" sz="2000" b="0" i="1" strike="noStrike" cap="none" spc="0" baseline="0">
                <a:solidFill>
                  <a:srgbClr val="000000"/>
                </a:solidFill>
                <a:effectLst/>
                <a:latin typeface="Calibri"/>
                <a:ea typeface="Calibri"/>
                <a:cs typeface="Calibri"/>
              </a:rPr>
              <a:t> adresinden inceleyebilirler.</a:t>
            </a:r>
          </a:p>
          <a:p>
            <a:r>
              <a:rPr lang="tr-TR" sz="2000" b="0" i="1" strike="noStrike" cap="none" spc="0" baseline="0">
                <a:solidFill>
                  <a:srgbClr val="FFFFFF"/>
                </a:solidFill>
                <a:effectLst/>
                <a:latin typeface="Quicksand-Medium"/>
                <a:ea typeface="Quicksand-Medium"/>
                <a:cs typeface="Quicksand-Medium"/>
                <a:hlinkClick r:id="rId5" history="0"/>
              </a:rPr>
              <a:t>Sera Gazı Protokolü Kurumsal Muhasebe ve Raporlama Standardı</a:t>
            </a:r>
            <a:endParaRPr lang="en-US" b="0" i="1">
              <a:solidFill>
                <a:schemeClr val="bg1"/>
              </a:solidFill>
              <a:effectLst/>
              <a:latin typeface="Quicksand-Medium"/>
            </a:endParaRPr>
          </a:p>
          <a:p>
            <a:r>
              <a:rPr lang="tr-TR" sz="2000" b="0" i="1" strike="noStrike" cap="none" spc="0" baseline="0">
                <a:solidFill>
                  <a:srgbClr val="FFFFFF"/>
                </a:solidFill>
                <a:effectLst/>
                <a:latin typeface="Quicksand-SemiBold"/>
                <a:ea typeface="Quicksand-SemiBold"/>
                <a:cs typeface="Quicksand-SemiBold"/>
                <a:hlinkClick r:id="rId6" history="0"/>
              </a:rPr>
              <a:t>Sera Gazı Protokol Kapsamı 2 Kılavuzu</a:t>
            </a:r>
            <a:endParaRPr lang="en-US" i="1">
              <a:solidFill>
                <a:schemeClr val="bg1"/>
              </a:solidFill>
            </a:endParaRPr>
          </a:p>
        </p:txBody>
      </p:sp>
    </p:spTree>
    <p:extLst>
      <p:ext uri="{BB962C8B-B14F-4D97-AF65-F5344CB8AC3E}">
        <p14:creationId xmlns:p14="http://schemas.microsoft.com/office/powerpoint/2010/main" val="34845562"/>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a:buNone/>
            </a:pPr>
            <a:r>
              <a:rPr lang="tr-TR" sz="6000" b="1" i="0" strike="noStrike" cap="none" spc="0" baseline="0">
                <a:solidFill>
                  <a:srgbClr val="FFFFFF"/>
                </a:solidFill>
                <a:effectLst/>
                <a:latin typeface="Calibri"/>
                <a:ea typeface="Calibri"/>
                <a:cs typeface="Calibri"/>
              </a:rPr>
              <a:t>Teşekkürler</a:t>
            </a:r>
            <a:endParaRPr lang="en-US" sz="6000">
              <a:latin typeface="+mn-lt"/>
            </a:endParaRPr>
          </a:p>
          <a:p>
            <a:pPr marL="0" indent="0" algn="ctr">
              <a:buNone/>
            </a:pPr>
            <a:endParaRPr lang="en-US"/>
          </a:p>
        </p:txBody>
      </p:sp>
    </p:spTree>
    <p:extLst>
      <p:ext uri="{BB962C8B-B14F-4D97-AF65-F5344CB8AC3E}">
        <p14:creationId xmlns:p14="http://schemas.microsoft.com/office/powerpoint/2010/main" val="294029386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a:buNone/>
            </a:pPr>
            <a:r>
              <a:rPr lang="tr-TR" sz="6000" b="1" i="0" strike="noStrike" cap="none" spc="0" baseline="0">
                <a:solidFill>
                  <a:srgbClr val="FFFFFF"/>
                </a:solidFill>
                <a:effectLst/>
                <a:latin typeface="Calibri"/>
                <a:ea typeface="Calibri"/>
                <a:cs typeface="Calibri"/>
              </a:rPr>
              <a:t>Sorularınız mı var</a:t>
            </a:r>
            <a:endParaRPr lang="en-US" sz="6000">
              <a:latin typeface="+mn-lt"/>
            </a:endParaRPr>
          </a:p>
          <a:p>
            <a:pPr marL="0" indent="0" algn="ctr">
              <a:buNone/>
            </a:pPr>
            <a:endParaRPr lang="en-US"/>
          </a:p>
        </p:txBody>
      </p:sp>
    </p:spTree>
    <p:extLst>
      <p:ext uri="{BB962C8B-B14F-4D97-AF65-F5344CB8AC3E}">
        <p14:creationId xmlns:p14="http://schemas.microsoft.com/office/powerpoint/2010/main" val="293472484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09231"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tr-TR" sz="1600" b="1" i="0" strike="noStrike" cap="none" spc="0" baseline="0">
                <a:solidFill>
                  <a:srgbClr val="FFFFFF"/>
                </a:solidFill>
                <a:effectLst/>
                <a:latin typeface="Calibri"/>
                <a:ea typeface="Calibri"/>
                <a:cs typeface="Calibri"/>
              </a:rPr>
              <a:t>Kapsam 1+2 muhasebesini kurum içinde yeni başlatıyor ve yapmak istiyorsanız, kendi Excel şablonlarınızı tasarlamak için ABD EPA Basitleştirilmiş Sera Gazı Emisyon Hesaplama Aracını ve Microsoft'un bu aracı nasıl kullanacağınıza dair eğitimlerini kullanın (Kapsam 1 </a:t>
            </a:r>
            <a:r>
              <a:rPr lang="tr-TR" sz="1600" b="1" i="0" strike="noStrike" cap="none" spc="0" baseline="0">
                <a:solidFill>
                  <a:srgbClr val="FFFFFF"/>
                </a:solidFill>
                <a:effectLst/>
                <a:latin typeface="Calibri"/>
                <a:ea typeface="Calibri"/>
                <a:cs typeface="Calibri"/>
                <a:hlinkClick r:id="rId6" history="0"/>
              </a:rPr>
              <a:t>eğitimi</a:t>
            </a:r>
            <a:r>
              <a:rPr lang="tr-TR" sz="1600" b="1" i="0" strike="noStrike" cap="none" spc="0" baseline="0">
                <a:solidFill>
                  <a:srgbClr val="FFFFFF"/>
                </a:solidFill>
                <a:effectLst/>
                <a:latin typeface="Calibri"/>
                <a:ea typeface="Calibri"/>
                <a:cs typeface="Calibri"/>
              </a:rPr>
              <a:t> ve Kapsam  2 </a:t>
            </a:r>
            <a:r>
              <a:rPr lang="tr-TR" sz="1600" b="1" i="0" strike="noStrike" cap="none" spc="0" baseline="0">
                <a:solidFill>
                  <a:srgbClr val="FFFFFF"/>
                </a:solidFill>
                <a:effectLst/>
                <a:latin typeface="Calibri"/>
                <a:ea typeface="Calibri"/>
                <a:cs typeface="Calibri"/>
                <a:hlinkClick r:id="rId7" history="0"/>
              </a:rPr>
              <a:t>eğitimi </a:t>
            </a:r>
            <a:r>
              <a:rPr lang="tr-TR" sz="1600" b="1" i="0" strike="noStrike" cap="none" spc="0" baseline="0">
                <a:solidFill>
                  <a:srgbClr val="FFFFFF"/>
                </a:solidFill>
                <a:effectLst/>
                <a:latin typeface="Calibri"/>
                <a:ea typeface="Calibri"/>
                <a:cs typeface="Calibri"/>
              </a:rPr>
              <a:t>)</a:t>
            </a: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6170718" y="1166407"/>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r>
              <a:rPr lang="tr-TR" sz="1600" b="1" i="0" strike="noStrike" cap="none" spc="0" baseline="0">
                <a:solidFill>
                  <a:srgbClr val="FFFFFF"/>
                </a:solidFill>
                <a:effectLst/>
                <a:latin typeface="Calibri"/>
                <a:ea typeface="Calibri"/>
                <a:cs typeface="Calibri"/>
              </a:rPr>
              <a:t>Bir danışman veya yazılım sağlayıcısı kullanmak istiyorsanız, CDP </a:t>
            </a:r>
            <a:r>
              <a:rPr lang="tr-TR" sz="1600" b="1" i="0" strike="noStrike" cap="none" spc="0" baseline="0">
                <a:solidFill>
                  <a:srgbClr val="FFFFFF"/>
                </a:solidFill>
                <a:effectLst/>
                <a:latin typeface="Calibri"/>
                <a:ea typeface="Calibri"/>
                <a:cs typeface="Calibri"/>
                <a:hlinkClick r:id="rId8" history="0"/>
              </a:rPr>
              <a:t>Akredite Çözüm Sağlayıcılarını</a:t>
            </a:r>
            <a:r>
              <a:rPr lang="tr-TR" sz="1600" b="1" i="0" strike="noStrike" cap="none" spc="0" baseline="0">
                <a:solidFill>
                  <a:srgbClr val="FFFFFF"/>
                </a:solidFill>
                <a:effectLst/>
                <a:latin typeface="Calibri"/>
                <a:ea typeface="Calibri"/>
                <a:cs typeface="Calibri"/>
              </a:rPr>
              <a:t> kontrol edin: Sera Gazı Emisyon Envanteri sağlayıcıları için filtre</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r>
              <a:rPr lang="tr-TR" sz="3200" b="0" i="0" strike="noStrike" cap="none" spc="-20" baseline="0">
                <a:solidFill>
                  <a:srgbClr val="FFFFFF"/>
                </a:solidFill>
                <a:effectLst/>
                <a:latin typeface="Calibri"/>
                <a:ea typeface="Calibri"/>
                <a:cs typeface="Calibri"/>
              </a:rPr>
              <a:t>a) Veri toplama yöntemini tanımlama</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96438"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tr-TR" sz="1400" b="0" i="0" strike="noStrike" cap="none" spc="0" baseline="0">
                <a:solidFill>
                  <a:srgbClr val="000000"/>
                </a:solidFill>
                <a:effectLst/>
                <a:latin typeface="Calibri"/>
                <a:ea typeface="Calibri"/>
                <a:cs typeface="Calibri"/>
              </a:rPr>
              <a:t>PepsiCo </a:t>
            </a:r>
            <a:r>
              <a:rPr lang="tr-TR" sz="1400" b="0" i="0" strike="noStrike" cap="none" spc="0" baseline="0">
                <a:solidFill>
                  <a:srgbClr val="0065E5"/>
                </a:solidFill>
                <a:effectLst/>
                <a:latin typeface="Calibri"/>
                <a:ea typeface="Calibri"/>
                <a:cs typeface="Calibri"/>
                <a:hlinkClick r:id="rId9" history="0"/>
              </a:rPr>
              <a:t>Sürdürülebilirlik Eylem Merkezimizde</a:t>
            </a:r>
            <a:r>
              <a:rPr lang="tr-TR" sz="1400" b="0" i="0" strike="noStrike" cap="none" spc="0" baseline="0">
                <a:solidFill>
                  <a:srgbClr val="000000"/>
                </a:solidFill>
                <a:effectLst/>
                <a:latin typeface="Calibri"/>
                <a:ea typeface="Calibri"/>
                <a:cs typeface="Calibri"/>
              </a:rPr>
              <a:t> ek araçlar sağlanmaktadır </a:t>
            </a: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6257925" y="229035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pPr>
            <a:r>
              <a:rPr lang="tr-TR" sz="1400" b="0" i="0" strike="noStrike" cap="none" spc="0" baseline="0">
                <a:solidFill>
                  <a:srgbClr val="000000"/>
                </a:solidFill>
                <a:effectLst/>
                <a:latin typeface="Calibri"/>
                <a:ea typeface="Calibri"/>
                <a:cs typeface="Calibri"/>
              </a:rPr>
              <a:t>Ayrıca daha ileri düzeydeyseniz ve süreci otomatikleştirmek istiyorsanız yazılım sağlayıcı listesini de kontrol edin</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10">
            <a:extLst>
              <a:ext uri="{28A0092B-C50C-407E-A947-70E740481C1C}">
                <a14:useLocalDpi xmlns:a14="http://schemas.microsoft.com/office/drawing/2010/main"/>
              </a:ext>
            </a:extLst>
          </a:blip>
          <a:stretch>
            <a:fillRect/>
          </a:stretch>
        </p:blipFill>
        <p:spPr bwMode="auto">
          <a:xfrm>
            <a:off x="1061429" y="3120078"/>
            <a:ext cx="4507648" cy="3380736"/>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6326624" y="3159867"/>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29EDF53-15F5-702F-ABE8-7080EA6BB4EB}"/>
              </a:ext>
            </a:extLst>
          </p:cNvPr>
          <p:cNvSpPr txBox="1"/>
          <p:nvPr/>
        </p:nvSpPr>
        <p:spPr>
          <a:xfrm>
            <a:off x="1548145" y="2672146"/>
            <a:ext cx="4013346" cy="1432560"/>
          </a:xfrm>
          <a:prstGeom prst="rect">
            <a:avLst/>
          </a:prstGeom>
          <a:solidFill>
            <a:schemeClr val="accent4"/>
          </a:solidFill>
        </p:spPr>
        <p:txBody>
          <a:bodyPr wrap="square" rtlCol="0">
            <a:spAutoFit/>
          </a:bodyPr>
          <a:lstStyle/>
          <a:p>
            <a:pPr algn="ctr"/>
            <a:endParaRPr lang="en-US" sz="2200">
              <a:solidFill>
                <a:srgbClr val="FF0000"/>
              </a:solidFill>
            </a:endParaRPr>
          </a:p>
          <a:p>
            <a:pPr algn="ctr"/>
            <a:r>
              <a:rPr lang="tr-TR" sz="2200" b="0" i="0" strike="noStrike" cap="none" spc="0" baseline="0">
                <a:solidFill>
                  <a:srgbClr val="FF0000"/>
                </a:solidFill>
                <a:effectLst/>
                <a:latin typeface="Calibri"/>
                <a:ea typeface="Calibri"/>
                <a:cs typeface="Calibri"/>
              </a:rPr>
              <a:t>Şu anda Sera Gazı Protokolü tarafından durduruldu</a:t>
            </a:r>
          </a:p>
          <a:p>
            <a:pPr algn="ctr"/>
            <a:endParaRPr lang="en-US" sz="2200">
              <a:solidFill>
                <a:srgbClr val="FF0000"/>
              </a:solidFill>
            </a:endParaRPr>
          </a:p>
        </p:txBody>
      </p:sp>
    </p:spTree>
    <p:extLst>
      <p:ext uri="{BB962C8B-B14F-4D97-AF65-F5344CB8AC3E}">
        <p14:creationId xmlns:p14="http://schemas.microsoft.com/office/powerpoint/2010/main" val="280705283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4824-829E-405A-87FE-E94A3E71C9C8}"/>
              </a:ext>
            </a:extLst>
          </p:cNvPr>
          <p:cNvSpPr>
            <a:spLocks noGrp="1"/>
          </p:cNvSpPr>
          <p:nvPr>
            <p:ph type="title"/>
          </p:nvPr>
        </p:nvSpPr>
        <p:spPr/>
        <p:txBody>
          <a:bodyPr/>
          <a:lstStyle/>
          <a:p>
            <a:r>
              <a:rPr lang="tr-TR" sz="3200" b="1" i="0" strike="noStrike" cap="none" spc="-20" baseline="0">
                <a:solidFill>
                  <a:srgbClr val="FFFFFF"/>
                </a:solidFill>
                <a:effectLst/>
                <a:latin typeface="Calibri"/>
                <a:ea typeface="Calibri"/>
                <a:cs typeface="Calibri"/>
              </a:rPr>
              <a:t>İnandırıcı Yenilenebilir Elektrik Taleplerinde Bulunmak için EAC’lere ihtiyacınız var</a:t>
            </a:r>
            <a:endParaRPr lang="en-US"/>
          </a:p>
        </p:txBody>
      </p:sp>
      <p:sp>
        <p:nvSpPr>
          <p:cNvPr id="3" name="Text Placeholder 2">
            <a:extLst>
              <a:ext uri="{FF2B5EF4-FFF2-40B4-BE49-F238E27FC236}">
                <a16:creationId xmlns:a16="http://schemas.microsoft.com/office/drawing/2014/main" id="{E1A10802-1309-4305-89B1-23E05872AD26}"/>
              </a:ext>
            </a:extLst>
          </p:cNvPr>
          <p:cNvSpPr>
            <a:spLocks noGrp="1"/>
          </p:cNvSpPr>
          <p:nvPr>
            <p:ph type="body" sz="quarter" idx="14"/>
          </p:nvPr>
        </p:nvSpPr>
        <p:spPr>
          <a:xfrm>
            <a:off x="609231" y="1274778"/>
            <a:ext cx="6275045" cy="4810836"/>
          </a:xfrm>
        </p:spPr>
        <p:txBody>
          <a:bodyPr/>
          <a:lstStyle/>
          <a:p>
            <a:r>
              <a:rPr lang="tr-TR" sz="1800" b="1" i="0" strike="noStrike" cap="none" spc="0" baseline="0">
                <a:solidFill>
                  <a:srgbClr val="004CAC"/>
                </a:solidFill>
                <a:effectLst/>
                <a:latin typeface="Calibri"/>
                <a:ea typeface="Calibri"/>
                <a:cs typeface="Calibri"/>
              </a:rPr>
              <a:t>EAC</a:t>
            </a:r>
            <a:r>
              <a:rPr lang="tr-TR" sz="1800" b="0" i="0" strike="noStrike" cap="none" spc="0" baseline="0">
                <a:solidFill>
                  <a:srgbClr val="004CAC"/>
                </a:solidFill>
                <a:effectLst/>
                <a:latin typeface="Calibri"/>
                <a:ea typeface="Calibri"/>
                <a:cs typeface="Calibri"/>
              </a:rPr>
              <a:t> (Kuzey Amerika'da Yenilenebilir Enerji Kredisi (REC) veya Avrupa'da Menşe Garantisi (GO) olarak bilinebilir) yenilenebilir bir enerji kaynağından elektrik üretimiyle ilişkili </a:t>
            </a:r>
            <a:r>
              <a:rPr lang="tr-TR" sz="1800" b="1" i="0" strike="noStrike" cap="none" spc="0" baseline="0">
                <a:solidFill>
                  <a:srgbClr val="004CAC"/>
                </a:solidFill>
                <a:effectLst/>
                <a:latin typeface="Calibri"/>
                <a:ea typeface="Calibri"/>
                <a:cs typeface="Calibri"/>
              </a:rPr>
              <a:t>çevresel özellikleri</a:t>
            </a:r>
            <a:r>
              <a:rPr lang="tr-TR" sz="1800" b="0" i="0" strike="noStrike" cap="none" spc="0" baseline="0">
                <a:solidFill>
                  <a:srgbClr val="004CAC"/>
                </a:solidFill>
                <a:effectLst/>
                <a:latin typeface="Calibri"/>
                <a:ea typeface="Calibri"/>
                <a:cs typeface="Calibri"/>
              </a:rPr>
              <a:t> temsil eder</a:t>
            </a:r>
          </a:p>
          <a:p>
            <a:pPr marL="0" indent="0">
              <a:buNone/>
            </a:pPr>
            <a:endParaRPr lang="en-US" sz="1800" b="0" i="0" u="none" strike="noStrike">
              <a:solidFill>
                <a:srgbClr val="004CAC"/>
              </a:solidFill>
              <a:effectLst/>
              <a:latin typeface="Calibri" panose="020F0502020204030204" pitchFamily="34" charset="0"/>
            </a:endParaRPr>
          </a:p>
          <a:p>
            <a:r>
              <a:rPr lang="tr-TR" sz="1800" b="0" i="0" strike="noStrike" cap="none" spc="0" baseline="0">
                <a:solidFill>
                  <a:srgbClr val="004CAC"/>
                </a:solidFill>
                <a:effectLst/>
                <a:latin typeface="Calibri"/>
                <a:ea typeface="Calibri"/>
                <a:cs typeface="Calibri"/>
              </a:rPr>
              <a:t>1MWh = 1 EAC</a:t>
            </a:r>
          </a:p>
          <a:p>
            <a:pPr marL="0" indent="0">
              <a:buNone/>
            </a:pPr>
            <a:endParaRPr lang="en-US" sz="1800" b="0" i="0" u="none" strike="noStrike">
              <a:solidFill>
                <a:srgbClr val="004CAC"/>
              </a:solidFill>
              <a:effectLst/>
              <a:latin typeface="Calibri" panose="020F0502020204030204" pitchFamily="34" charset="0"/>
            </a:endParaRPr>
          </a:p>
          <a:p>
            <a:r>
              <a:rPr lang="tr-TR" sz="1800" b="0" i="0" strike="noStrike" cap="none" spc="0" baseline="0">
                <a:solidFill>
                  <a:srgbClr val="004CAC"/>
                </a:solidFill>
                <a:effectLst/>
                <a:latin typeface="Calibri"/>
                <a:ea typeface="Calibri"/>
                <a:cs typeface="Calibri"/>
              </a:rPr>
              <a:t>Elektriğin yenilenebilir bir kaynaktan olarak değerlendirilmesi için (uyumlu raporlama taleplerine olanak sağlamak amacıyla) </a:t>
            </a:r>
            <a:r>
              <a:rPr lang="tr-TR" sz="1800" b="1" i="0" strike="noStrike" cap="none" spc="0" baseline="0">
                <a:solidFill>
                  <a:srgbClr val="004CAC"/>
                </a:solidFill>
                <a:effectLst/>
                <a:latin typeface="Calibri"/>
                <a:ea typeface="Calibri"/>
                <a:cs typeface="Calibri"/>
              </a:rPr>
              <a:t>tüketilen elektrik, bir yenilenebilir enerji projesinden eşdeğer bir EAC hacmi ile eşleştirilmelidir</a:t>
            </a:r>
            <a:endParaRPr lang="en-US" sz="1800"/>
          </a:p>
        </p:txBody>
      </p:sp>
    </p:spTree>
    <p:extLst>
      <p:ext uri="{BB962C8B-B14F-4D97-AF65-F5344CB8AC3E}">
        <p14:creationId xmlns:p14="http://schemas.microsoft.com/office/powerpoint/2010/main" val="254308405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BB1D499-B45C-1C11-9194-94DB9376BB33}"/>
              </a:ext>
            </a:extLst>
          </p:cNvPr>
          <p:cNvSpPr/>
          <p:nvPr/>
        </p:nvSpPr>
        <p:spPr>
          <a:xfrm>
            <a:off x="0" y="0"/>
            <a:ext cx="3614057" cy="66149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27">
            <a:extLst>
              <a:ext uri="{FF2B5EF4-FFF2-40B4-BE49-F238E27FC236}">
                <a16:creationId xmlns:a16="http://schemas.microsoft.com/office/drawing/2014/main" id="{FBCB27CD-3A0E-C783-B6E0-0E3D02CB2EDC}"/>
              </a:ext>
            </a:extLst>
          </p:cNvPr>
          <p:cNvSpPr txBox="1"/>
          <p:nvPr/>
        </p:nvSpPr>
        <p:spPr>
          <a:xfrm>
            <a:off x="253815" y="2910560"/>
            <a:ext cx="3106426" cy="623222"/>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lnSpc>
                <a:spcPct val="100000"/>
              </a:lnSpc>
            </a:pPr>
            <a:r>
              <a:rPr lang="tr-TR" sz="4400" b="1" i="0" strike="noStrike" cap="none" spc="0" baseline="0">
                <a:solidFill>
                  <a:srgbClr val="FFFFFF"/>
                </a:solidFill>
                <a:effectLst/>
                <a:latin typeface="Calibri"/>
                <a:ea typeface="Calibri"/>
                <a:cs typeface="Calibri"/>
              </a:rPr>
              <a:t>İçerik</a:t>
            </a:r>
          </a:p>
        </p:txBody>
      </p:sp>
      <p:cxnSp>
        <p:nvCxnSpPr>
          <p:cNvPr id="22" name="Straight Connector 21">
            <a:extLst>
              <a:ext uri="{FF2B5EF4-FFF2-40B4-BE49-F238E27FC236}">
                <a16:creationId xmlns:a16="http://schemas.microsoft.com/office/drawing/2014/main" id="{00806D27-9F1F-37B7-1224-5B7C01368FEE}"/>
              </a:ext>
            </a:extLst>
          </p:cNvPr>
          <p:cNvCxnSpPr/>
          <p:nvPr/>
        </p:nvCxnSpPr>
        <p:spPr>
          <a:xfrm>
            <a:off x="1277257" y="2641600"/>
            <a:ext cx="105954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8B6AE42-C325-6869-366B-993F832E8A1E}"/>
              </a:ext>
            </a:extLst>
          </p:cNvPr>
          <p:cNvGrpSpPr/>
          <p:nvPr/>
        </p:nvGrpSpPr>
        <p:grpSpPr>
          <a:xfrm flipH="1">
            <a:off x="-1770" y="4243344"/>
            <a:ext cx="2630669" cy="2373356"/>
            <a:chOff x="10541795" y="4742213"/>
            <a:chExt cx="1661349" cy="1498848"/>
          </a:xfrm>
        </p:grpSpPr>
        <p:pic>
          <p:nvPicPr>
            <p:cNvPr id="24" name="Picture 23" descr="Shape, circle&#10;&#10;Description automatically generated">
              <a:extLst>
                <a:ext uri="{FF2B5EF4-FFF2-40B4-BE49-F238E27FC236}">
                  <a16:creationId xmlns:a16="http://schemas.microsoft.com/office/drawing/2014/main" id="{C8B65A39-F740-8C7E-F308-9C611575E64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rot="10800000">
              <a:off x="11455339" y="5117435"/>
              <a:ext cx="374113" cy="374460"/>
            </a:xfrm>
            <a:prstGeom prst="rect">
              <a:avLst/>
            </a:prstGeom>
          </p:spPr>
        </p:pic>
        <p:pic>
          <p:nvPicPr>
            <p:cNvPr id="25" name="Picture 24" descr="Shape, circle&#10;&#10;Description automatically generated">
              <a:extLst>
                <a:ext uri="{FF2B5EF4-FFF2-40B4-BE49-F238E27FC236}">
                  <a16:creationId xmlns:a16="http://schemas.microsoft.com/office/drawing/2014/main" id="{027572D5-61AB-448E-E4FF-10EC9F26A5C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828684" y="5117435"/>
              <a:ext cx="374460" cy="374460"/>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D5AEBA10-B3C0-C71C-1E22-F3F4A38BFF1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rot="5400000">
              <a:off x="11454845" y="5491469"/>
              <a:ext cx="374113" cy="374460"/>
            </a:xfrm>
            <a:prstGeom prst="rect">
              <a:avLst/>
            </a:prstGeom>
          </p:spPr>
        </p:pic>
        <p:pic>
          <p:nvPicPr>
            <p:cNvPr id="27" name="Picture 26" descr="A picture containing diagram&#10;&#10;Description automatically generated">
              <a:extLst>
                <a:ext uri="{FF2B5EF4-FFF2-40B4-BE49-F238E27FC236}">
                  <a16:creationId xmlns:a16="http://schemas.microsoft.com/office/drawing/2014/main" id="{9CD36924-59A3-BC29-CDF2-05D254C8C22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28858" y="5491295"/>
              <a:ext cx="374113" cy="374460"/>
            </a:xfrm>
            <a:prstGeom prst="rect">
              <a:avLst/>
            </a:prstGeom>
          </p:spPr>
        </p:pic>
        <p:pic>
          <p:nvPicPr>
            <p:cNvPr id="28" name="Picture 27" descr="Chart, pie chart&#10;&#10;Description automatically generated">
              <a:extLst>
                <a:ext uri="{FF2B5EF4-FFF2-40B4-BE49-F238E27FC236}">
                  <a16:creationId xmlns:a16="http://schemas.microsoft.com/office/drawing/2014/main" id="{2170DA26-D7DC-DA09-C4C4-F0375FD2C32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454571" y="5865492"/>
              <a:ext cx="374113" cy="374460"/>
            </a:xfrm>
            <a:prstGeom prst="rect">
              <a:avLst/>
            </a:prstGeom>
          </p:spPr>
        </p:pic>
        <p:pic>
          <p:nvPicPr>
            <p:cNvPr id="29" name="Picture 28" descr="Shape, circle&#10;&#10;Description automatically generated">
              <a:extLst>
                <a:ext uri="{FF2B5EF4-FFF2-40B4-BE49-F238E27FC236}">
                  <a16:creationId xmlns:a16="http://schemas.microsoft.com/office/drawing/2014/main" id="{DC36E35C-BB90-5C04-F136-463181F708F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5865259"/>
              <a:ext cx="374874" cy="375222"/>
            </a:xfrm>
            <a:prstGeom prst="rect">
              <a:avLst/>
            </a:prstGeom>
          </p:spPr>
        </p:pic>
        <p:pic>
          <p:nvPicPr>
            <p:cNvPr id="30" name="Picture 29" descr="Shape, circle&#10;&#10;Description automatically generated">
              <a:extLst>
                <a:ext uri="{FF2B5EF4-FFF2-40B4-BE49-F238E27FC236}">
                  <a16:creationId xmlns:a16="http://schemas.microsoft.com/office/drawing/2014/main" id="{857509AD-C51A-61BB-1750-A879EE4FB47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080212" y="5491632"/>
              <a:ext cx="374460" cy="374460"/>
            </a:xfrm>
            <a:prstGeom prst="rect">
              <a:avLst/>
            </a:prstGeom>
          </p:spPr>
        </p:pic>
        <p:pic>
          <p:nvPicPr>
            <p:cNvPr id="31" name="Picture 30" descr="Shape, circle&#10;&#10;Description automatically generated">
              <a:extLst>
                <a:ext uri="{FF2B5EF4-FFF2-40B4-BE49-F238E27FC236}">
                  <a16:creationId xmlns:a16="http://schemas.microsoft.com/office/drawing/2014/main" id="{BBECD000-6A6E-36EF-B55B-CF33367FA9C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flipH="1">
              <a:off x="10706867" y="5865839"/>
              <a:ext cx="374874" cy="375222"/>
            </a:xfrm>
            <a:prstGeom prst="rect">
              <a:avLst/>
            </a:prstGeom>
          </p:spPr>
        </p:pic>
        <p:pic>
          <p:nvPicPr>
            <p:cNvPr id="32" name="Picture 31" descr="A picture containing diagram&#10;&#10;Description automatically generated">
              <a:extLst>
                <a:ext uri="{FF2B5EF4-FFF2-40B4-BE49-F238E27FC236}">
                  <a16:creationId xmlns:a16="http://schemas.microsoft.com/office/drawing/2014/main" id="{4C7042F6-8C9F-F518-FAC6-42EB9A4CCD5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080385" y="5865492"/>
              <a:ext cx="374113" cy="374460"/>
            </a:xfrm>
            <a:prstGeom prst="rect">
              <a:avLst/>
            </a:prstGeom>
          </p:spPr>
        </p:pic>
        <p:pic>
          <p:nvPicPr>
            <p:cNvPr id="33" name="Picture 32" descr="Shape, circle&#10;&#10;Description automatically generated">
              <a:extLst>
                <a:ext uri="{FF2B5EF4-FFF2-40B4-BE49-F238E27FC236}">
                  <a16:creationId xmlns:a16="http://schemas.microsoft.com/office/drawing/2014/main" id="{3E703FF7-50B2-A1BC-4A0B-6DC4F6C3F33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4742213"/>
              <a:ext cx="374874" cy="375222"/>
            </a:xfrm>
            <a:prstGeom prst="rect">
              <a:avLst/>
            </a:prstGeom>
          </p:spPr>
        </p:pic>
        <p:pic>
          <p:nvPicPr>
            <p:cNvPr id="34" name="Picture 33" descr="A picture containing windmill, outdoor object&#10;&#10;Description automatically generated">
              <a:extLst>
                <a:ext uri="{FF2B5EF4-FFF2-40B4-BE49-F238E27FC236}">
                  <a16:creationId xmlns:a16="http://schemas.microsoft.com/office/drawing/2014/main" id="{E3947901-0501-4DB3-F91D-B3ECBBEB6A5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1172826" y="5082712"/>
              <a:ext cx="999974" cy="1157240"/>
            </a:xfrm>
            <a:prstGeom prst="rect">
              <a:avLst/>
            </a:prstGeom>
          </p:spPr>
        </p:pic>
        <p:pic>
          <p:nvPicPr>
            <p:cNvPr id="35" name="Picture 34" descr="A picture containing windmill, outdoor object&#10;&#10;Description automatically generated">
              <a:extLst>
                <a:ext uri="{FF2B5EF4-FFF2-40B4-BE49-F238E27FC236}">
                  <a16:creationId xmlns:a16="http://schemas.microsoft.com/office/drawing/2014/main" id="{8BEB321B-5DC5-92F9-8E95-7B16B6B8D7A8}"/>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0541795" y="5082712"/>
              <a:ext cx="999974" cy="1157240"/>
            </a:xfrm>
            <a:prstGeom prst="rect">
              <a:avLst/>
            </a:prstGeom>
          </p:spPr>
        </p:pic>
      </p:grpSp>
      <p:sp>
        <p:nvSpPr>
          <p:cNvPr id="19" name="TextBox 18">
            <a:extLst>
              <a:ext uri="{FF2B5EF4-FFF2-40B4-BE49-F238E27FC236}">
                <a16:creationId xmlns:a16="http://schemas.microsoft.com/office/drawing/2014/main" id="{CE9DC231-4C22-F5FC-D764-10F39E472777}"/>
              </a:ext>
            </a:extLst>
          </p:cNvPr>
          <p:cNvSpPr txBox="1"/>
          <p:nvPr/>
        </p:nvSpPr>
        <p:spPr>
          <a:xfrm>
            <a:off x="3962399" y="654165"/>
            <a:ext cx="7975785" cy="5643881"/>
          </a:xfrm>
          <a:prstGeom prst="rect">
            <a:avLst/>
          </a:prstGeom>
          <a:noFill/>
        </p:spPr>
        <p:txBody>
          <a:bodyPr wrap="square" anchor="ctr">
            <a:spAutoFit/>
          </a:bodyPr>
          <a:lstStyle/>
          <a:p>
            <a:pPr marL="457200" indent="-333375">
              <a:spcBef>
                <a:spcPts val="2000"/>
              </a:spcBef>
              <a:spcAft>
                <a:spcPts val="3000"/>
              </a:spcAft>
              <a:buClr>
                <a:schemeClr val="tx1"/>
              </a:buClr>
              <a:buFont typeface="Arial" panose="020B0604020202020204" pitchFamily="34" charset="0"/>
              <a:buChar char="•"/>
            </a:pPr>
            <a:r>
              <a:rPr lang="tr-TR" sz="2600" b="0" i="0" strike="noStrike" cap="none" spc="0" baseline="0">
                <a:solidFill>
                  <a:srgbClr val="000000"/>
                </a:solidFill>
                <a:effectLst/>
                <a:latin typeface="Calibri"/>
                <a:ea typeface="Calibri"/>
                <a:cs typeface="Calibri"/>
              </a:rPr>
              <a:t>Genel Bakış</a:t>
            </a:r>
          </a:p>
          <a:p>
            <a:pPr marL="457200" indent="-333375">
              <a:spcBef>
                <a:spcPts val="2000"/>
              </a:spcBef>
              <a:spcAft>
                <a:spcPts val="3000"/>
              </a:spcAft>
              <a:buClr>
                <a:schemeClr val="tx1"/>
              </a:buClr>
              <a:buFont typeface="Arial" panose="020B0604020202020204" pitchFamily="34" charset="0"/>
              <a:buChar char="•"/>
            </a:pPr>
            <a:r>
              <a:rPr lang="tr-TR" sz="2600" b="0" i="0" strike="noStrike" cap="none" spc="0" baseline="0">
                <a:solidFill>
                  <a:srgbClr val="000000"/>
                </a:solidFill>
                <a:effectLst/>
                <a:latin typeface="Calibri"/>
                <a:ea typeface="Calibri"/>
                <a:cs typeface="Calibri"/>
              </a:rPr>
              <a:t>1. Adım: Planlama ve Hazırlık</a:t>
            </a:r>
          </a:p>
          <a:p>
            <a:pPr marL="457200" indent="-333375">
              <a:spcBef>
                <a:spcPts val="2000"/>
              </a:spcBef>
              <a:spcAft>
                <a:spcPts val="3000"/>
              </a:spcAft>
              <a:buClr>
                <a:schemeClr val="tx1"/>
              </a:buClr>
              <a:buFont typeface="Arial" panose="020B0604020202020204" pitchFamily="34" charset="0"/>
              <a:buChar char="•"/>
            </a:pPr>
            <a:r>
              <a:rPr lang="tr-TR" sz="2600" b="0" i="0" strike="noStrike" cap="none" spc="0" baseline="0">
                <a:solidFill>
                  <a:srgbClr val="000000"/>
                </a:solidFill>
                <a:effectLst/>
                <a:latin typeface="Calibri"/>
                <a:ea typeface="Calibri"/>
                <a:cs typeface="Calibri"/>
              </a:rPr>
              <a:t>2. Adım: Veri Toplama</a:t>
            </a:r>
          </a:p>
          <a:p>
            <a:pPr marL="457200" indent="-333375">
              <a:spcBef>
                <a:spcPts val="2000"/>
              </a:spcBef>
              <a:spcAft>
                <a:spcPts val="3000"/>
              </a:spcAft>
              <a:buClr>
                <a:schemeClr val="tx1"/>
              </a:buClr>
              <a:buFont typeface="Arial" panose="020B0604020202020204" pitchFamily="34" charset="0"/>
              <a:buChar char="•"/>
            </a:pPr>
            <a:r>
              <a:rPr lang="tr-TR" sz="2600" b="0" i="0" strike="noStrike" cap="none" spc="0" baseline="0">
                <a:solidFill>
                  <a:srgbClr val="000000"/>
                </a:solidFill>
                <a:effectLst/>
                <a:latin typeface="Calibri"/>
                <a:ea typeface="Calibri"/>
                <a:cs typeface="Calibri"/>
              </a:rPr>
              <a:t>3. Adım: Veri Hesaplama ve Değerlendirme</a:t>
            </a:r>
          </a:p>
          <a:p>
            <a:pPr marL="457200" indent="-333375">
              <a:spcBef>
                <a:spcPts val="2000"/>
              </a:spcBef>
              <a:spcAft>
                <a:spcPts val="3000"/>
              </a:spcAft>
              <a:buClr>
                <a:schemeClr val="tx1"/>
              </a:buClr>
              <a:buFont typeface="Arial" panose="020B0604020202020204" pitchFamily="34" charset="0"/>
              <a:buChar char="•"/>
            </a:pPr>
            <a:r>
              <a:rPr lang="tr-TR" sz="2600" b="0" i="0" strike="noStrike" cap="none" spc="0" baseline="0">
                <a:solidFill>
                  <a:srgbClr val="000000"/>
                </a:solidFill>
                <a:effectLst/>
                <a:latin typeface="Calibri"/>
                <a:ea typeface="Calibri"/>
                <a:cs typeface="Calibri"/>
              </a:rPr>
              <a:t>4. Adım: Ayak İzi İzleme ve Revize Etme </a:t>
            </a:r>
          </a:p>
          <a:p>
            <a:pPr marL="457200" indent="-333375">
              <a:spcBef>
                <a:spcPts val="2000"/>
              </a:spcBef>
              <a:spcAft>
                <a:spcPts val="3000"/>
              </a:spcAft>
              <a:buClr>
                <a:schemeClr val="tx1"/>
              </a:buClr>
              <a:buFont typeface="Arial" panose="020B0604020202020204" pitchFamily="34" charset="0"/>
              <a:buChar char="•"/>
            </a:pPr>
            <a:r>
              <a:rPr lang="tr-TR" sz="2600" b="0" i="0" strike="noStrike" cap="none" spc="0" baseline="0">
                <a:solidFill>
                  <a:srgbClr val="000000"/>
                </a:solidFill>
                <a:effectLst/>
                <a:latin typeface="Calibri"/>
                <a:ea typeface="Calibri"/>
                <a:cs typeface="Calibri"/>
              </a:rPr>
              <a:t>PepsiCo Soruları ve Ek Kaynakları</a:t>
            </a:r>
          </a:p>
        </p:txBody>
      </p:sp>
      <p:sp>
        <p:nvSpPr>
          <p:cNvPr id="45" name="Arrow: Left-Up 44">
            <a:extLst>
              <a:ext uri="{FF2B5EF4-FFF2-40B4-BE49-F238E27FC236}">
                <a16:creationId xmlns:a16="http://schemas.microsoft.com/office/drawing/2014/main" id="{1F5859EC-0673-A957-CAA7-11CCD9E28811}"/>
              </a:ext>
            </a:extLst>
          </p:cNvPr>
          <p:cNvSpPr/>
          <p:nvPr/>
        </p:nvSpPr>
        <p:spPr>
          <a:xfrm rot="16200000" flipV="1">
            <a:off x="4935447" y="-617215"/>
            <a:ext cx="6271590" cy="8241515"/>
          </a:xfrm>
          <a:prstGeom prst="leftUpArrow">
            <a:avLst>
              <a:gd name="adj1" fmla="val 25000"/>
              <a:gd name="adj2" fmla="val 0"/>
              <a:gd name="adj3" fmla="val 0"/>
            </a:avLst>
          </a:prstGeom>
          <a:noFill/>
          <a:ln w="19050">
            <a:solidFill>
              <a:srgbClr val="8EDB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C89A644-675B-49FC-7965-0D225A81214D}"/>
              </a:ext>
            </a:extLst>
          </p:cNvPr>
          <p:cNvGrpSpPr/>
          <p:nvPr/>
        </p:nvGrpSpPr>
        <p:grpSpPr>
          <a:xfrm>
            <a:off x="11141764" y="5565580"/>
            <a:ext cx="1050235" cy="1051120"/>
            <a:chOff x="11181363" y="5267738"/>
            <a:chExt cx="1010637" cy="1011489"/>
          </a:xfrm>
        </p:grpSpPr>
        <p:pic>
          <p:nvPicPr>
            <p:cNvPr id="37" name="Picture 36" descr="Shape, circle&#10;&#10;Description automatically generated">
              <a:extLst>
                <a:ext uri="{FF2B5EF4-FFF2-40B4-BE49-F238E27FC236}">
                  <a16:creationId xmlns:a16="http://schemas.microsoft.com/office/drawing/2014/main" id="{6793B0BC-DB92-A80C-A784-B69D037CCFC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rot="10800000">
              <a:off x="11518976" y="5605437"/>
              <a:ext cx="336701" cy="337013"/>
            </a:xfrm>
            <a:prstGeom prst="rect">
              <a:avLst/>
            </a:prstGeom>
          </p:spPr>
        </p:pic>
        <p:pic>
          <p:nvPicPr>
            <p:cNvPr id="39" name="Picture 38" descr="Shape, circle&#10;&#10;Description automatically generated">
              <a:extLst>
                <a:ext uri="{FF2B5EF4-FFF2-40B4-BE49-F238E27FC236}">
                  <a16:creationId xmlns:a16="http://schemas.microsoft.com/office/drawing/2014/main" id="{DD7F0BDA-6B6A-A554-E2A1-FA75C497EF7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854986" y="5605437"/>
              <a:ext cx="337014" cy="337013"/>
            </a:xfrm>
            <a:prstGeom prst="rect">
              <a:avLst/>
            </a:prstGeom>
          </p:spPr>
        </p:pic>
        <p:pic>
          <p:nvPicPr>
            <p:cNvPr id="40" name="Picture 39" descr="Shape&#10;&#10;Description automatically generated with medium confidence">
              <a:extLst>
                <a:ext uri="{FF2B5EF4-FFF2-40B4-BE49-F238E27FC236}">
                  <a16:creationId xmlns:a16="http://schemas.microsoft.com/office/drawing/2014/main" id="{34B7685A-83D3-BFCC-424F-4EFAC2CB7D5B}"/>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rot="5400000">
              <a:off x="11518532" y="5942067"/>
              <a:ext cx="336701" cy="337014"/>
            </a:xfrm>
            <a:prstGeom prst="rect">
              <a:avLst/>
            </a:prstGeom>
          </p:spPr>
        </p:pic>
        <p:pic>
          <p:nvPicPr>
            <p:cNvPr id="47" name="Picture 46" descr="A picture containing diagram&#10;&#10;Description automatically generated">
              <a:extLst>
                <a:ext uri="{FF2B5EF4-FFF2-40B4-BE49-F238E27FC236}">
                  <a16:creationId xmlns:a16="http://schemas.microsoft.com/office/drawing/2014/main" id="{CB14E26C-E667-C36E-8AAB-9F2627A57186}"/>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1855143" y="5941911"/>
              <a:ext cx="336701" cy="337013"/>
            </a:xfrm>
            <a:prstGeom prst="rect">
              <a:avLst/>
            </a:prstGeom>
          </p:spPr>
        </p:pic>
        <p:pic>
          <p:nvPicPr>
            <p:cNvPr id="50" name="Picture 49" descr="Shape, circle&#10;&#10;Description automatically generated">
              <a:extLst>
                <a:ext uri="{FF2B5EF4-FFF2-40B4-BE49-F238E27FC236}">
                  <a16:creationId xmlns:a16="http://schemas.microsoft.com/office/drawing/2014/main" id="{FACD950D-0F7A-544B-401E-93F43D5141D2}"/>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181363" y="5942214"/>
              <a:ext cx="337014" cy="337013"/>
            </a:xfrm>
            <a:prstGeom prst="rect">
              <a:avLst/>
            </a:prstGeom>
          </p:spPr>
        </p:pic>
        <p:pic>
          <p:nvPicPr>
            <p:cNvPr id="53" name="Picture 52" descr="Shape, circle&#10;&#10;Description automatically generated">
              <a:extLst>
                <a:ext uri="{FF2B5EF4-FFF2-40B4-BE49-F238E27FC236}">
                  <a16:creationId xmlns:a16="http://schemas.microsoft.com/office/drawing/2014/main" id="{608FAB71-4A64-E4A5-87C6-C63B082F9A05}"/>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1854457" y="5267738"/>
              <a:ext cx="337386" cy="337699"/>
            </a:xfrm>
            <a:prstGeom prst="rect">
              <a:avLst/>
            </a:prstGeom>
          </p:spPr>
        </p:pic>
      </p:grpSp>
    </p:spTree>
    <p:extLst>
      <p:ext uri="{BB962C8B-B14F-4D97-AF65-F5344CB8AC3E}">
        <p14:creationId xmlns:p14="http://schemas.microsoft.com/office/powerpoint/2010/main" val="104151350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606425" y="821531"/>
            <a:ext cx="7178675" cy="5214938"/>
          </a:xfrm>
        </p:spPr>
        <p:txBody>
          <a:bodyPr anchor="ctr"/>
          <a:lstStyle/>
          <a:p>
            <a:pPr marL="0" indent="0">
              <a:buNone/>
            </a:pPr>
            <a:r>
              <a:rPr lang="tr-TR" sz="6000" b="1" i="0" strike="noStrike" cap="none" spc="0" baseline="0">
                <a:solidFill>
                  <a:srgbClr val="FFFFFF"/>
                </a:solidFill>
                <a:effectLst/>
                <a:latin typeface="Calibri"/>
                <a:ea typeface="Calibri"/>
                <a:cs typeface="Calibri"/>
              </a:rPr>
              <a:t>1. Genel Bakış</a:t>
            </a:r>
          </a:p>
        </p:txBody>
      </p:sp>
    </p:spTree>
    <p:extLst>
      <p:ext uri="{BB962C8B-B14F-4D97-AF65-F5344CB8AC3E}">
        <p14:creationId xmlns:p14="http://schemas.microsoft.com/office/powerpoint/2010/main" val="22634783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C349A1-AB9C-F18B-6354-E37A3697B614}"/>
              </a:ext>
            </a:extLst>
          </p:cNvPr>
          <p:cNvSpPr/>
          <p:nvPr/>
        </p:nvSpPr>
        <p:spPr>
          <a:xfrm>
            <a:off x="8553255" y="1197001"/>
            <a:ext cx="3027559" cy="52125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3085326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a:xfrm>
            <a:off x="609231" y="168381"/>
            <a:ext cx="10971583" cy="623222"/>
          </a:xfrm>
        </p:spPr>
        <p:txBody>
          <a:bodyPr vert="horz"/>
          <a:lstStyle/>
          <a:p>
            <a:r>
              <a:rPr lang="tr-TR" sz="2400" b="1" i="0" strike="noStrike" cap="none" spc="-20" baseline="0">
                <a:solidFill>
                  <a:srgbClr val="FFFFFF"/>
                </a:solidFill>
                <a:effectLst/>
                <a:latin typeface="Calibri"/>
                <a:ea typeface="Calibri"/>
                <a:cs typeface="Calibri"/>
              </a:rPr>
              <a:t>Kapsam 1 emisyonları şirketin faaliyetlerinden kaynaklanan doğrudan emisyonlardır. Kapsam 2 emisyonları satın alınan elektrik, buhar, ısıtma ve soğutmadan kaynaklanan dolaylı emisyonlardır.</a:t>
            </a:r>
          </a:p>
        </p:txBody>
      </p:sp>
      <p:sp>
        <p:nvSpPr>
          <p:cNvPr id="31" name="Rectangle 30">
            <a:extLst>
              <a:ext uri="{FF2B5EF4-FFF2-40B4-BE49-F238E27FC236}">
                <a16:creationId xmlns:a16="http://schemas.microsoft.com/office/drawing/2014/main" id="{980B70F0-DD9D-9E43-998E-6AFDBBC8BD70}"/>
              </a:ext>
            </a:extLst>
          </p:cNvPr>
          <p:cNvSpPr/>
          <p:nvPr/>
        </p:nvSpPr>
        <p:spPr>
          <a:xfrm>
            <a:off x="609231" y="1143000"/>
            <a:ext cx="6401169" cy="5278472"/>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C22DA6D5-5BEB-6AF6-3399-A6FDDFDB58B5}"/>
              </a:ext>
            </a:extLst>
          </p:cNvPr>
          <p:cNvGrpSpPr/>
          <p:nvPr/>
        </p:nvGrpSpPr>
        <p:grpSpPr>
          <a:xfrm>
            <a:off x="747329" y="1742210"/>
            <a:ext cx="3027559" cy="4582820"/>
            <a:chOff x="747329" y="1742210"/>
            <a:chExt cx="3027559" cy="4582820"/>
          </a:xfrm>
        </p:grpSpPr>
        <p:sp>
          <p:nvSpPr>
            <p:cNvPr id="16" name="Rectangle 15">
              <a:extLst>
                <a:ext uri="{FF2B5EF4-FFF2-40B4-BE49-F238E27FC236}">
                  <a16:creationId xmlns:a16="http://schemas.microsoft.com/office/drawing/2014/main" id="{5279B894-9404-6207-C643-3AA3CED15253}"/>
                </a:ext>
              </a:extLst>
            </p:cNvPr>
            <p:cNvSpPr/>
            <p:nvPr/>
          </p:nvSpPr>
          <p:spPr>
            <a:xfrm>
              <a:off x="747329" y="5940855"/>
              <a:ext cx="3027559" cy="384175"/>
            </a:xfrm>
            <a:prstGeom prst="rect">
              <a:avLst/>
            </a:prstGeom>
            <a:solidFill>
              <a:schemeClr val="accent5">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tr-TR" sz="1800" b="1" i="0" strike="noStrike" cap="none" spc="0" baseline="0">
                  <a:solidFill>
                    <a:srgbClr val="0065E5"/>
                  </a:solidFill>
                  <a:effectLst/>
                  <a:latin typeface="Calibri"/>
                  <a:ea typeface="Calibri"/>
                  <a:cs typeface="Calibri"/>
                </a:rPr>
                <a:t>DOĞRUDAN</a:t>
              </a:r>
            </a:p>
          </p:txBody>
        </p:sp>
        <p:sp>
          <p:nvSpPr>
            <p:cNvPr id="38" name="Rectangle 37">
              <a:extLst>
                <a:ext uri="{FF2B5EF4-FFF2-40B4-BE49-F238E27FC236}">
                  <a16:creationId xmlns:a16="http://schemas.microsoft.com/office/drawing/2014/main" id="{BD286BE2-02A9-61C9-2161-46ADADC79019}"/>
                </a:ext>
              </a:extLst>
            </p:cNvPr>
            <p:cNvSpPr/>
            <p:nvPr/>
          </p:nvSpPr>
          <p:spPr>
            <a:xfrm>
              <a:off x="747329" y="1742210"/>
              <a:ext cx="302755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algn="ctr"/>
              <a:r>
                <a:rPr lang="tr-TR" sz="2400" b="1" i="0" strike="noStrike" cap="none" spc="0" baseline="0">
                  <a:solidFill>
                    <a:srgbClr val="0065E5"/>
                  </a:solidFill>
                  <a:effectLst/>
                  <a:latin typeface="Calibri"/>
                  <a:ea typeface="Calibri"/>
                  <a:cs typeface="Calibri"/>
                </a:rPr>
                <a:t>KAPSAM 1</a:t>
              </a:r>
              <a:br>
                <a:rPr sz="2400"/>
              </a:br>
              <a:r>
                <a:rPr lang="tr-TR" sz="1000" b="1" i="0" strike="noStrike" cap="none" spc="0" baseline="0">
                  <a:solidFill>
                    <a:srgbClr val="0065E5"/>
                  </a:solidFill>
                  <a:effectLst/>
                  <a:latin typeface="Calibri"/>
                  <a:ea typeface="Calibri"/>
                  <a:cs typeface="Calibri"/>
                </a:rPr>
                <a:t>YAKIT KULLANIMI VE KAÇAK EMİSYONLAR</a:t>
              </a:r>
            </a:p>
          </p:txBody>
        </p:sp>
        <p:sp>
          <p:nvSpPr>
            <p:cNvPr id="7" name="Rectangle 6">
              <a:extLst>
                <a:ext uri="{FF2B5EF4-FFF2-40B4-BE49-F238E27FC236}">
                  <a16:creationId xmlns:a16="http://schemas.microsoft.com/office/drawing/2014/main" id="{7E61828E-D488-BAC3-2DDC-802BE56CCF38}"/>
                </a:ext>
              </a:extLst>
            </p:cNvPr>
            <p:cNvSpPr/>
            <p:nvPr/>
          </p:nvSpPr>
          <p:spPr>
            <a:xfrm>
              <a:off x="747329" y="1831314"/>
              <a:ext cx="3027559" cy="18650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Calibri"/>
                  <a:ea typeface="Calibri"/>
                  <a:cs typeface="Calibri"/>
                </a:rPr>
                <a:t>Şirket araçları</a:t>
              </a:r>
              <a:endParaRPr kumimoji="0" lang="en-US" sz="1800" b="1" i="0" u="none" strike="noStrike" kern="1200" cap="none" spc="0" normalizeH="0" baseline="0" noProof="0">
                <a:ln>
                  <a:noFill/>
                </a:ln>
                <a:solidFill>
                  <a:srgbClr val="FFFFFF"/>
                </a:solidFill>
                <a:effectLst/>
                <a:uLnTx/>
                <a:uFillTx/>
                <a:ea typeface="+mn-ea"/>
                <a:cs typeface="+mn-cs"/>
              </a:endParaRPr>
            </a:p>
          </p:txBody>
        </p:sp>
        <p:sp>
          <p:nvSpPr>
            <p:cNvPr id="40" name="Rectangle 39">
              <a:extLst>
                <a:ext uri="{FF2B5EF4-FFF2-40B4-BE49-F238E27FC236}">
                  <a16:creationId xmlns:a16="http://schemas.microsoft.com/office/drawing/2014/main" id="{5542E52A-0AFA-8E88-D76D-C15E83A50A8F}"/>
                </a:ext>
              </a:extLst>
            </p:cNvPr>
            <p:cNvSpPr/>
            <p:nvPr/>
          </p:nvSpPr>
          <p:spPr>
            <a:xfrm>
              <a:off x="747329" y="3823156"/>
              <a:ext cx="3027559" cy="20490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defRPr/>
              </a:pPr>
              <a:r>
                <a:rPr lang="tr-TR" sz="1800" b="1" i="0" strike="noStrike" cap="none" spc="0" baseline="0">
                  <a:solidFill>
                    <a:srgbClr val="FFFFFF"/>
                  </a:solidFill>
                  <a:effectLst/>
                  <a:latin typeface="Calibri"/>
                  <a:ea typeface="Calibri"/>
                  <a:cs typeface="Calibri"/>
                </a:rPr>
                <a:t>Şirket tesisleri</a:t>
              </a:r>
            </a:p>
          </p:txBody>
        </p:sp>
        <p:grpSp>
          <p:nvGrpSpPr>
            <p:cNvPr id="14" name="Group 4">
              <a:extLst>
                <a:ext uri="{FF2B5EF4-FFF2-40B4-BE49-F238E27FC236}">
                  <a16:creationId xmlns:a16="http://schemas.microsoft.com/office/drawing/2014/main" id="{65B15312-7E87-0554-918C-86D494D97D9D}"/>
                </a:ext>
              </a:extLst>
            </p:cNvPr>
            <p:cNvGrpSpPr>
              <a:grpSpLocks noChangeAspect="1"/>
            </p:cNvGrpSpPr>
            <p:nvPr/>
          </p:nvGrpSpPr>
          <p:grpSpPr>
            <a:xfrm flipH="1">
              <a:off x="1021044" y="2661460"/>
              <a:ext cx="2404326" cy="1041025"/>
              <a:chOff x="224" y="1645"/>
              <a:chExt cx="940" cy="407"/>
            </a:xfrm>
          </p:grpSpPr>
          <p:sp>
            <p:nvSpPr>
              <p:cNvPr id="17" name="Freeform 5">
                <a:extLst>
                  <a:ext uri="{FF2B5EF4-FFF2-40B4-BE49-F238E27FC236}">
                    <a16:creationId xmlns:a16="http://schemas.microsoft.com/office/drawing/2014/main" id="{980ECDA0-94DF-92CC-4C12-0FCC7455AE65}"/>
                  </a:ext>
                </a:extLst>
              </p:cNvPr>
              <p:cNvSpPr/>
              <p:nvPr/>
            </p:nvSpPr>
            <p:spPr bwMode="auto">
              <a:xfrm>
                <a:off x="273"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4" y="0"/>
                      <a:pt x="0" y="13"/>
                      <a:pt x="0" y="30"/>
                    </a:cubicBezTo>
                    <a:cubicBezTo>
                      <a:pt x="0" y="46"/>
                      <a:pt x="14" y="59"/>
                      <a:pt x="30" y="59"/>
                    </a:cubicBezTo>
                    <a:cubicBezTo>
                      <a:pt x="47" y="59"/>
                      <a:pt x="60" y="46"/>
                      <a:pt x="60" y="30"/>
                    </a:cubicBezTo>
                    <a:cubicBezTo>
                      <a:pt x="60" y="13"/>
                      <a:pt x="47"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8" name="Freeform 6">
                <a:extLst>
                  <a:ext uri="{FF2B5EF4-FFF2-40B4-BE49-F238E27FC236}">
                    <a16:creationId xmlns:a16="http://schemas.microsoft.com/office/drawing/2014/main" id="{2F34D2E3-09A6-6204-E48E-7EE800D8D166}"/>
                  </a:ext>
                </a:extLst>
              </p:cNvPr>
              <p:cNvSpPr/>
              <p:nvPr/>
            </p:nvSpPr>
            <p:spPr bwMode="auto">
              <a:xfrm>
                <a:off x="1011"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3" y="0"/>
                      <a:pt x="0" y="13"/>
                      <a:pt x="0" y="30"/>
                    </a:cubicBezTo>
                    <a:cubicBezTo>
                      <a:pt x="0" y="46"/>
                      <a:pt x="13" y="59"/>
                      <a:pt x="30" y="59"/>
                    </a:cubicBezTo>
                    <a:cubicBezTo>
                      <a:pt x="46" y="59"/>
                      <a:pt x="60" y="46"/>
                      <a:pt x="60" y="30"/>
                    </a:cubicBezTo>
                    <a:cubicBezTo>
                      <a:pt x="60" y="13"/>
                      <a:pt x="46"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9" name="Freeform 7">
                <a:extLst>
                  <a:ext uri="{FF2B5EF4-FFF2-40B4-BE49-F238E27FC236}">
                    <a16:creationId xmlns:a16="http://schemas.microsoft.com/office/drawing/2014/main" id="{116324FE-2C87-9492-0720-9183EC708682}"/>
                  </a:ext>
                </a:extLst>
              </p:cNvPr>
              <p:cNvSpPr/>
              <p:nvPr/>
            </p:nvSpPr>
            <p:spPr bwMode="auto">
              <a:xfrm>
                <a:off x="406" y="1645"/>
                <a:ext cx="758" cy="301"/>
              </a:xfrm>
              <a:custGeom>
                <a:avLst/>
                <a:gdLst>
                  <a:gd name="T0" fmla="*/ 440 w 446"/>
                  <a:gd name="T1" fmla="*/ 0 h 167"/>
                  <a:gd name="T2" fmla="*/ 440 w 446"/>
                  <a:gd name="T3" fmla="*/ 0 h 167"/>
                  <a:gd name="T4" fmla="*/ 0 w 446"/>
                  <a:gd name="T5" fmla="*/ 0 h 167"/>
                  <a:gd name="T6" fmla="*/ 0 w 446"/>
                  <a:gd name="T7" fmla="*/ 6 h 167"/>
                  <a:gd name="T8" fmla="*/ 0 w 446"/>
                  <a:gd name="T9" fmla="*/ 167 h 167"/>
                  <a:gd name="T10" fmla="*/ 356 w 446"/>
                  <a:gd name="T11" fmla="*/ 167 h 167"/>
                  <a:gd name="T12" fmla="*/ 386 w 446"/>
                  <a:gd name="T13" fmla="*/ 155 h 167"/>
                  <a:gd name="T14" fmla="*/ 415 w 446"/>
                  <a:gd name="T15" fmla="*/ 167 h 167"/>
                  <a:gd name="T16" fmla="*/ 446 w 446"/>
                  <a:gd name="T17" fmla="*/ 167 h 167"/>
                  <a:gd name="T18" fmla="*/ 446 w 446"/>
                  <a:gd name="T19" fmla="*/ 6 h 167"/>
                  <a:gd name="T20" fmla="*/ 440 w 446"/>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167">
                    <a:moveTo>
                      <a:pt x="440" y="0"/>
                    </a:moveTo>
                    <a:lnTo>
                      <a:pt x="440" y="0"/>
                    </a:lnTo>
                    <a:lnTo>
                      <a:pt x="0" y="0"/>
                    </a:lnTo>
                    <a:lnTo>
                      <a:pt x="0" y="6"/>
                    </a:lnTo>
                    <a:lnTo>
                      <a:pt x="0" y="167"/>
                    </a:lnTo>
                    <a:lnTo>
                      <a:pt x="356" y="167"/>
                    </a:lnTo>
                    <a:cubicBezTo>
                      <a:pt x="364" y="159"/>
                      <a:pt x="374" y="155"/>
                      <a:pt x="386" y="155"/>
                    </a:cubicBezTo>
                    <a:cubicBezTo>
                      <a:pt x="397" y="155"/>
                      <a:pt x="407" y="159"/>
                      <a:pt x="415" y="167"/>
                    </a:cubicBezTo>
                    <a:lnTo>
                      <a:pt x="446" y="167"/>
                    </a:lnTo>
                    <a:lnTo>
                      <a:pt x="446" y="6"/>
                    </a:lnTo>
                    <a:cubicBezTo>
                      <a:pt x="446" y="2"/>
                      <a:pt x="443" y="0"/>
                      <a:pt x="44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0" name="Freeform 8">
                <a:extLst>
                  <a:ext uri="{FF2B5EF4-FFF2-40B4-BE49-F238E27FC236}">
                    <a16:creationId xmlns:a16="http://schemas.microsoft.com/office/drawing/2014/main" id="{AE09C3F5-A222-BECA-96FD-315A85540134}"/>
                  </a:ext>
                </a:extLst>
              </p:cNvPr>
              <p:cNvSpPr>
                <a:spLocks noEditPoints="1"/>
              </p:cNvSpPr>
              <p:nvPr/>
            </p:nvSpPr>
            <p:spPr bwMode="auto">
              <a:xfrm>
                <a:off x="224" y="1730"/>
                <a:ext cx="161" cy="216"/>
              </a:xfrm>
              <a:custGeom>
                <a:avLst/>
                <a:gdLst>
                  <a:gd name="T0" fmla="*/ 36 w 95"/>
                  <a:gd name="T1" fmla="*/ 57 h 120"/>
                  <a:gd name="T2" fmla="*/ 36 w 95"/>
                  <a:gd name="T3" fmla="*/ 57 h 120"/>
                  <a:gd name="T4" fmla="*/ 54 w 95"/>
                  <a:gd name="T5" fmla="*/ 21 h 120"/>
                  <a:gd name="T6" fmla="*/ 59 w 95"/>
                  <a:gd name="T7" fmla="*/ 18 h 120"/>
                  <a:gd name="T8" fmla="*/ 77 w 95"/>
                  <a:gd name="T9" fmla="*/ 18 h 120"/>
                  <a:gd name="T10" fmla="*/ 83 w 95"/>
                  <a:gd name="T11" fmla="*/ 24 h 120"/>
                  <a:gd name="T12" fmla="*/ 83 w 95"/>
                  <a:gd name="T13" fmla="*/ 60 h 120"/>
                  <a:gd name="T14" fmla="*/ 77 w 95"/>
                  <a:gd name="T15" fmla="*/ 66 h 120"/>
                  <a:gd name="T16" fmla="*/ 41 w 95"/>
                  <a:gd name="T17" fmla="*/ 66 h 120"/>
                  <a:gd name="T18" fmla="*/ 36 w 95"/>
                  <a:gd name="T19" fmla="*/ 57 h 120"/>
                  <a:gd name="T20" fmla="*/ 59 w 95"/>
                  <a:gd name="T21" fmla="*/ 108 h 120"/>
                  <a:gd name="T22" fmla="*/ 59 w 95"/>
                  <a:gd name="T23" fmla="*/ 108 h 120"/>
                  <a:gd name="T24" fmla="*/ 89 w 95"/>
                  <a:gd name="T25" fmla="*/ 120 h 120"/>
                  <a:gd name="T26" fmla="*/ 95 w 95"/>
                  <a:gd name="T27" fmla="*/ 120 h 120"/>
                  <a:gd name="T28" fmla="*/ 95 w 95"/>
                  <a:gd name="T29" fmla="*/ 0 h 120"/>
                  <a:gd name="T30" fmla="*/ 59 w 95"/>
                  <a:gd name="T31" fmla="*/ 0 h 120"/>
                  <a:gd name="T32" fmla="*/ 54 w 95"/>
                  <a:gd name="T33" fmla="*/ 3 h 120"/>
                  <a:gd name="T34" fmla="*/ 25 w 95"/>
                  <a:gd name="T35" fmla="*/ 56 h 120"/>
                  <a:gd name="T36" fmla="*/ 1 w 95"/>
                  <a:gd name="T37" fmla="*/ 79 h 120"/>
                  <a:gd name="T38" fmla="*/ 0 w 95"/>
                  <a:gd name="T39" fmla="*/ 84 h 120"/>
                  <a:gd name="T40" fmla="*/ 0 w 95"/>
                  <a:gd name="T41" fmla="*/ 119 h 120"/>
                  <a:gd name="T42" fmla="*/ 30 w 95"/>
                  <a:gd name="T43" fmla="*/ 119 h 120"/>
                  <a:gd name="T44" fmla="*/ 59 w 95"/>
                  <a:gd name="T45"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120">
                    <a:moveTo>
                      <a:pt x="36" y="57"/>
                    </a:moveTo>
                    <a:lnTo>
                      <a:pt x="36" y="57"/>
                    </a:lnTo>
                    <a:lnTo>
                      <a:pt x="54" y="21"/>
                    </a:lnTo>
                    <a:cubicBezTo>
                      <a:pt x="55" y="19"/>
                      <a:pt x="57" y="18"/>
                      <a:pt x="59" y="18"/>
                    </a:cubicBezTo>
                    <a:lnTo>
                      <a:pt x="77" y="18"/>
                    </a:lnTo>
                    <a:cubicBezTo>
                      <a:pt x="81" y="18"/>
                      <a:pt x="83" y="20"/>
                      <a:pt x="83" y="24"/>
                    </a:cubicBezTo>
                    <a:lnTo>
                      <a:pt x="83" y="60"/>
                    </a:lnTo>
                    <a:cubicBezTo>
                      <a:pt x="83" y="63"/>
                      <a:pt x="81" y="66"/>
                      <a:pt x="77" y="66"/>
                    </a:cubicBezTo>
                    <a:lnTo>
                      <a:pt x="41" y="66"/>
                    </a:lnTo>
                    <a:cubicBezTo>
                      <a:pt x="37" y="66"/>
                      <a:pt x="34" y="61"/>
                      <a:pt x="36" y="57"/>
                    </a:cubicBezTo>
                    <a:close/>
                    <a:moveTo>
                      <a:pt x="59" y="108"/>
                    </a:moveTo>
                    <a:lnTo>
                      <a:pt x="59" y="108"/>
                    </a:lnTo>
                    <a:cubicBezTo>
                      <a:pt x="71" y="108"/>
                      <a:pt x="81" y="112"/>
                      <a:pt x="89" y="120"/>
                    </a:cubicBezTo>
                    <a:lnTo>
                      <a:pt x="95" y="120"/>
                    </a:lnTo>
                    <a:lnTo>
                      <a:pt x="95" y="0"/>
                    </a:lnTo>
                    <a:lnTo>
                      <a:pt x="59" y="0"/>
                    </a:lnTo>
                    <a:cubicBezTo>
                      <a:pt x="57" y="0"/>
                      <a:pt x="55" y="1"/>
                      <a:pt x="54" y="3"/>
                    </a:cubicBezTo>
                    <a:lnTo>
                      <a:pt x="25" y="56"/>
                    </a:lnTo>
                    <a:lnTo>
                      <a:pt x="1" y="79"/>
                    </a:lnTo>
                    <a:cubicBezTo>
                      <a:pt x="0" y="80"/>
                      <a:pt x="0" y="82"/>
                      <a:pt x="0" y="84"/>
                    </a:cubicBezTo>
                    <a:lnTo>
                      <a:pt x="0" y="119"/>
                    </a:lnTo>
                    <a:lnTo>
                      <a:pt x="30" y="119"/>
                    </a:lnTo>
                    <a:cubicBezTo>
                      <a:pt x="38" y="112"/>
                      <a:pt x="48" y="108"/>
                      <a:pt x="59" y="108"/>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1" name="Freeform 9">
                <a:extLst>
                  <a:ext uri="{FF2B5EF4-FFF2-40B4-BE49-F238E27FC236}">
                    <a16:creationId xmlns:a16="http://schemas.microsoft.com/office/drawing/2014/main" id="{8B361E17-B5AE-8F15-755D-DB3287F267CE}"/>
                  </a:ext>
                </a:extLst>
              </p:cNvPr>
              <p:cNvSpPr/>
              <p:nvPr/>
            </p:nvSpPr>
            <p:spPr bwMode="auto">
              <a:xfrm>
                <a:off x="1125" y="1966"/>
                <a:ext cx="39" cy="45"/>
              </a:xfrm>
              <a:custGeom>
                <a:avLst/>
                <a:gdLst>
                  <a:gd name="T0" fmla="*/ 4 w 23"/>
                  <a:gd name="T1" fmla="*/ 24 h 25"/>
                  <a:gd name="T2" fmla="*/ 4 w 23"/>
                  <a:gd name="T3" fmla="*/ 24 h 25"/>
                  <a:gd name="T4" fmla="*/ 17 w 23"/>
                  <a:gd name="T5" fmla="*/ 24 h 25"/>
                  <a:gd name="T6" fmla="*/ 23 w 23"/>
                  <a:gd name="T7" fmla="*/ 19 h 25"/>
                  <a:gd name="T8" fmla="*/ 23 w 23"/>
                  <a:gd name="T9" fmla="*/ 0 h 25"/>
                  <a:gd name="T10" fmla="*/ 0 w 23"/>
                  <a:gd name="T11" fmla="*/ 0 h 25"/>
                  <a:gd name="T12" fmla="*/ 4 w 23"/>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23" h="25">
                    <a:moveTo>
                      <a:pt x="4" y="24"/>
                    </a:moveTo>
                    <a:lnTo>
                      <a:pt x="4" y="24"/>
                    </a:lnTo>
                    <a:lnTo>
                      <a:pt x="17" y="24"/>
                    </a:lnTo>
                    <a:cubicBezTo>
                      <a:pt x="20" y="25"/>
                      <a:pt x="23" y="22"/>
                      <a:pt x="23" y="19"/>
                    </a:cubicBezTo>
                    <a:lnTo>
                      <a:pt x="23" y="0"/>
                    </a:lnTo>
                    <a:lnTo>
                      <a:pt x="0" y="0"/>
                    </a:lnTo>
                    <a:cubicBezTo>
                      <a:pt x="5" y="9"/>
                      <a:pt x="5" y="17"/>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2" name="Freeform 10">
                <a:extLst>
                  <a:ext uri="{FF2B5EF4-FFF2-40B4-BE49-F238E27FC236}">
                    <a16:creationId xmlns:a16="http://schemas.microsoft.com/office/drawing/2014/main" id="{F6563256-618D-4E3B-3233-EE8149B30895}"/>
                  </a:ext>
                </a:extLst>
              </p:cNvPr>
              <p:cNvSpPr/>
              <p:nvPr/>
            </p:nvSpPr>
            <p:spPr bwMode="auto">
              <a:xfrm>
                <a:off x="224" y="1966"/>
                <a:ext cx="37" cy="45"/>
              </a:xfrm>
              <a:custGeom>
                <a:avLst/>
                <a:gdLst>
                  <a:gd name="T0" fmla="*/ 0 w 22"/>
                  <a:gd name="T1" fmla="*/ 0 h 25"/>
                  <a:gd name="T2" fmla="*/ 0 w 22"/>
                  <a:gd name="T3" fmla="*/ 0 h 25"/>
                  <a:gd name="T4" fmla="*/ 0 w 22"/>
                  <a:gd name="T5" fmla="*/ 19 h 25"/>
                  <a:gd name="T6" fmla="*/ 5 w 22"/>
                  <a:gd name="T7" fmla="*/ 24 h 25"/>
                  <a:gd name="T8" fmla="*/ 18 w 22"/>
                  <a:gd name="T9" fmla="*/ 24 h 25"/>
                  <a:gd name="T10" fmla="*/ 22 w 22"/>
                  <a:gd name="T11" fmla="*/ 0 h 25"/>
                  <a:gd name="T12" fmla="*/ 0 w 2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2" h="25">
                    <a:moveTo>
                      <a:pt x="0" y="0"/>
                    </a:moveTo>
                    <a:lnTo>
                      <a:pt x="0" y="0"/>
                    </a:lnTo>
                    <a:lnTo>
                      <a:pt x="0" y="19"/>
                    </a:lnTo>
                    <a:cubicBezTo>
                      <a:pt x="0" y="22"/>
                      <a:pt x="2" y="25"/>
                      <a:pt x="5" y="24"/>
                    </a:cubicBezTo>
                    <a:lnTo>
                      <a:pt x="18" y="24"/>
                    </a:lnTo>
                    <a:cubicBezTo>
                      <a:pt x="17" y="17"/>
                      <a:pt x="18" y="9"/>
                      <a:pt x="22" y="0"/>
                    </a:cubicBez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3" name="Freeform 11">
                <a:extLst>
                  <a:ext uri="{FF2B5EF4-FFF2-40B4-BE49-F238E27FC236}">
                    <a16:creationId xmlns:a16="http://schemas.microsoft.com/office/drawing/2014/main" id="{551390D3-956A-392D-0F8D-6958CC3461BA}"/>
                  </a:ext>
                </a:extLst>
              </p:cNvPr>
              <p:cNvSpPr/>
              <p:nvPr/>
            </p:nvSpPr>
            <p:spPr bwMode="auto">
              <a:xfrm>
                <a:off x="389" y="1966"/>
                <a:ext cx="608" cy="43"/>
              </a:xfrm>
              <a:custGeom>
                <a:avLst/>
                <a:gdLst>
                  <a:gd name="T0" fmla="*/ 4 w 358"/>
                  <a:gd name="T1" fmla="*/ 24 h 24"/>
                  <a:gd name="T2" fmla="*/ 4 w 358"/>
                  <a:gd name="T3" fmla="*/ 24 h 24"/>
                  <a:gd name="T4" fmla="*/ 354 w 358"/>
                  <a:gd name="T5" fmla="*/ 24 h 24"/>
                  <a:gd name="T6" fmla="*/ 358 w 358"/>
                  <a:gd name="T7" fmla="*/ 0 h 24"/>
                  <a:gd name="T8" fmla="*/ 0 w 358"/>
                  <a:gd name="T9" fmla="*/ 0 h 24"/>
                  <a:gd name="T10" fmla="*/ 4 w 358"/>
                  <a:gd name="T11" fmla="*/ 24 h 24"/>
                </a:gdLst>
                <a:ahLst/>
                <a:cxnLst>
                  <a:cxn ang="0">
                    <a:pos x="T0" y="T1"/>
                  </a:cxn>
                  <a:cxn ang="0">
                    <a:pos x="T2" y="T3"/>
                  </a:cxn>
                  <a:cxn ang="0">
                    <a:pos x="T4" y="T5"/>
                  </a:cxn>
                  <a:cxn ang="0">
                    <a:pos x="T6" y="T7"/>
                  </a:cxn>
                  <a:cxn ang="0">
                    <a:pos x="T8" y="T9"/>
                  </a:cxn>
                  <a:cxn ang="0">
                    <a:pos x="T10" y="T11"/>
                  </a:cxn>
                </a:cxnLst>
                <a:rect l="0" t="0" r="r" b="b"/>
                <a:pathLst>
                  <a:path w="358" h="24">
                    <a:moveTo>
                      <a:pt x="4" y="24"/>
                    </a:moveTo>
                    <a:lnTo>
                      <a:pt x="4" y="24"/>
                    </a:lnTo>
                    <a:lnTo>
                      <a:pt x="354" y="24"/>
                    </a:lnTo>
                    <a:cubicBezTo>
                      <a:pt x="354" y="12"/>
                      <a:pt x="355" y="6"/>
                      <a:pt x="358" y="0"/>
                    </a:cubicBezTo>
                    <a:lnTo>
                      <a:pt x="0" y="0"/>
                    </a:lnTo>
                    <a:cubicBezTo>
                      <a:pt x="3" y="6"/>
                      <a:pt x="4" y="12"/>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sp>
          <p:nvSpPr>
            <p:cNvPr id="42" name="Freeform 29">
              <a:extLst>
                <a:ext uri="{FF2B5EF4-FFF2-40B4-BE49-F238E27FC236}">
                  <a16:creationId xmlns:a16="http://schemas.microsoft.com/office/drawing/2014/main" id="{35E93BF0-0730-F525-E10F-4F352FE9ECD6}"/>
                </a:ext>
              </a:extLst>
            </p:cNvPr>
            <p:cNvSpPr>
              <a:spLocks noEditPoints="1"/>
            </p:cNvSpPr>
            <p:nvPr/>
          </p:nvSpPr>
          <p:spPr bwMode="auto">
            <a:xfrm>
              <a:off x="1625606" y="4229928"/>
              <a:ext cx="1271004" cy="1642248"/>
            </a:xfrm>
            <a:custGeom>
              <a:avLst/>
              <a:gdLst>
                <a:gd name="T0" fmla="*/ 212 w 287"/>
                <a:gd name="T1" fmla="*/ 66 h 425"/>
                <a:gd name="T2" fmla="*/ 263 w 287"/>
                <a:gd name="T3" fmla="*/ 19 h 425"/>
                <a:gd name="T4" fmla="*/ 268 w 287"/>
                <a:gd name="T5" fmla="*/ 119 h 425"/>
                <a:gd name="T6" fmla="*/ 212 w 287"/>
                <a:gd name="T7" fmla="*/ 72 h 425"/>
                <a:gd name="T8" fmla="*/ 268 w 287"/>
                <a:gd name="T9" fmla="*/ 172 h 425"/>
                <a:gd name="T10" fmla="*/ 212 w 287"/>
                <a:gd name="T11" fmla="*/ 125 h 425"/>
                <a:gd name="T12" fmla="*/ 268 w 287"/>
                <a:gd name="T13" fmla="*/ 225 h 425"/>
                <a:gd name="T14" fmla="*/ 212 w 287"/>
                <a:gd name="T15" fmla="*/ 178 h 425"/>
                <a:gd name="T16" fmla="*/ 268 w 287"/>
                <a:gd name="T17" fmla="*/ 278 h 425"/>
                <a:gd name="T18" fmla="*/ 212 w 287"/>
                <a:gd name="T19" fmla="*/ 231 h 425"/>
                <a:gd name="T20" fmla="*/ 268 w 287"/>
                <a:gd name="T21" fmla="*/ 326 h 425"/>
                <a:gd name="T22" fmla="*/ 217 w 287"/>
                <a:gd name="T23" fmla="*/ 331 h 425"/>
                <a:gd name="T24" fmla="*/ 268 w 287"/>
                <a:gd name="T25" fmla="*/ 284 h 425"/>
                <a:gd name="T26" fmla="*/ 205 w 287"/>
                <a:gd name="T27" fmla="*/ 66 h 425"/>
                <a:gd name="T28" fmla="*/ 154 w 287"/>
                <a:gd name="T29" fmla="*/ 19 h 425"/>
                <a:gd name="T30" fmla="*/ 205 w 287"/>
                <a:gd name="T31" fmla="*/ 66 h 425"/>
                <a:gd name="T32" fmla="*/ 149 w 287"/>
                <a:gd name="T33" fmla="*/ 119 h 425"/>
                <a:gd name="T34" fmla="*/ 205 w 287"/>
                <a:gd name="T35" fmla="*/ 119 h 425"/>
                <a:gd name="T36" fmla="*/ 149 w 287"/>
                <a:gd name="T37" fmla="*/ 172 h 425"/>
                <a:gd name="T38" fmla="*/ 205 w 287"/>
                <a:gd name="T39" fmla="*/ 172 h 425"/>
                <a:gd name="T40" fmla="*/ 149 w 287"/>
                <a:gd name="T41" fmla="*/ 225 h 425"/>
                <a:gd name="T42" fmla="*/ 205 w 287"/>
                <a:gd name="T43" fmla="*/ 225 h 425"/>
                <a:gd name="T44" fmla="*/ 149 w 287"/>
                <a:gd name="T45" fmla="*/ 278 h 425"/>
                <a:gd name="T46" fmla="*/ 205 w 287"/>
                <a:gd name="T47" fmla="*/ 278 h 425"/>
                <a:gd name="T48" fmla="*/ 200 w 287"/>
                <a:gd name="T49" fmla="*/ 331 h 425"/>
                <a:gd name="T50" fmla="*/ 149 w 287"/>
                <a:gd name="T51" fmla="*/ 284 h 425"/>
                <a:gd name="T52" fmla="*/ 142 w 287"/>
                <a:gd name="T53" fmla="*/ 119 h 425"/>
                <a:gd name="T54" fmla="*/ 86 w 287"/>
                <a:gd name="T55" fmla="*/ 72 h 425"/>
                <a:gd name="T56" fmla="*/ 142 w 287"/>
                <a:gd name="T57" fmla="*/ 172 h 425"/>
                <a:gd name="T58" fmla="*/ 86 w 287"/>
                <a:gd name="T59" fmla="*/ 125 h 425"/>
                <a:gd name="T60" fmla="*/ 142 w 287"/>
                <a:gd name="T61" fmla="*/ 225 h 425"/>
                <a:gd name="T62" fmla="*/ 86 w 287"/>
                <a:gd name="T63" fmla="*/ 178 h 425"/>
                <a:gd name="T64" fmla="*/ 142 w 287"/>
                <a:gd name="T65" fmla="*/ 278 h 425"/>
                <a:gd name="T66" fmla="*/ 86 w 287"/>
                <a:gd name="T67" fmla="*/ 231 h 425"/>
                <a:gd name="T68" fmla="*/ 142 w 287"/>
                <a:gd name="T69" fmla="*/ 326 h 425"/>
                <a:gd name="T70" fmla="*/ 91 w 287"/>
                <a:gd name="T71" fmla="*/ 331 h 425"/>
                <a:gd name="T72" fmla="*/ 142 w 287"/>
                <a:gd name="T73" fmla="*/ 284 h 425"/>
                <a:gd name="T74" fmla="*/ 79 w 287"/>
                <a:gd name="T75" fmla="*/ 119 h 425"/>
                <a:gd name="T76" fmla="*/ 79 w 287"/>
                <a:gd name="T77" fmla="*/ 72 h 425"/>
                <a:gd name="T78" fmla="*/ 79 w 287"/>
                <a:gd name="T79" fmla="*/ 172 h 425"/>
                <a:gd name="T80" fmla="*/ 79 w 287"/>
                <a:gd name="T81" fmla="*/ 125 h 425"/>
                <a:gd name="T82" fmla="*/ 79 w 287"/>
                <a:gd name="T83" fmla="*/ 225 h 425"/>
                <a:gd name="T84" fmla="*/ 79 w 287"/>
                <a:gd name="T85" fmla="*/ 178 h 425"/>
                <a:gd name="T86" fmla="*/ 79 w 287"/>
                <a:gd name="T87" fmla="*/ 278 h 425"/>
                <a:gd name="T88" fmla="*/ 79 w 287"/>
                <a:gd name="T89" fmla="*/ 231 h 425"/>
                <a:gd name="T90" fmla="*/ 79 w 287"/>
                <a:gd name="T91" fmla="*/ 326 h 425"/>
                <a:gd name="T92" fmla="*/ 23 w 287"/>
                <a:gd name="T93" fmla="*/ 326 h 425"/>
                <a:gd name="T94" fmla="*/ 79 w 287"/>
                <a:gd name="T95" fmla="*/ 326 h 425"/>
                <a:gd name="T96" fmla="*/ 28 w 287"/>
                <a:gd name="T97" fmla="*/ 19 h 425"/>
                <a:gd name="T98" fmla="*/ 79 w 287"/>
                <a:gd name="T99" fmla="*/ 66 h 425"/>
                <a:gd name="T100" fmla="*/ 86 w 287"/>
                <a:gd name="T101" fmla="*/ 24 h 425"/>
                <a:gd name="T102" fmla="*/ 138 w 287"/>
                <a:gd name="T103" fmla="*/ 19 h 425"/>
                <a:gd name="T104" fmla="*/ 86 w 287"/>
                <a:gd name="T105" fmla="*/ 66 h 425"/>
                <a:gd name="T106" fmla="*/ 0 w 287"/>
                <a:gd name="T107" fmla="*/ 0 h 425"/>
                <a:gd name="T108" fmla="*/ 23 w 287"/>
                <a:gd name="T109" fmla="*/ 407 h 425"/>
                <a:gd name="T110" fmla="*/ 28 w 287"/>
                <a:gd name="T111" fmla="*/ 349 h 425"/>
                <a:gd name="T112" fmla="*/ 79 w 287"/>
                <a:gd name="T113" fmla="*/ 360 h 425"/>
                <a:gd name="T114" fmla="*/ 287 w 287"/>
                <a:gd name="T115"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7" h="425">
                  <a:moveTo>
                    <a:pt x="268" y="66"/>
                  </a:moveTo>
                  <a:lnTo>
                    <a:pt x="268" y="66"/>
                  </a:lnTo>
                  <a:lnTo>
                    <a:pt x="212" y="66"/>
                  </a:lnTo>
                  <a:lnTo>
                    <a:pt x="212" y="24"/>
                  </a:lnTo>
                  <a:cubicBezTo>
                    <a:pt x="212" y="21"/>
                    <a:pt x="214" y="19"/>
                    <a:pt x="217" y="19"/>
                  </a:cubicBezTo>
                  <a:lnTo>
                    <a:pt x="263" y="19"/>
                  </a:lnTo>
                  <a:cubicBezTo>
                    <a:pt x="266" y="19"/>
                    <a:pt x="268" y="21"/>
                    <a:pt x="268" y="24"/>
                  </a:cubicBezTo>
                  <a:lnTo>
                    <a:pt x="268" y="66"/>
                  </a:lnTo>
                  <a:close/>
                  <a:moveTo>
                    <a:pt x="268" y="119"/>
                  </a:moveTo>
                  <a:lnTo>
                    <a:pt x="268" y="119"/>
                  </a:lnTo>
                  <a:lnTo>
                    <a:pt x="212" y="119"/>
                  </a:lnTo>
                  <a:lnTo>
                    <a:pt x="212" y="72"/>
                  </a:lnTo>
                  <a:lnTo>
                    <a:pt x="268" y="72"/>
                  </a:lnTo>
                  <a:lnTo>
                    <a:pt x="268" y="119"/>
                  </a:lnTo>
                  <a:close/>
                  <a:moveTo>
                    <a:pt x="268" y="172"/>
                  </a:moveTo>
                  <a:lnTo>
                    <a:pt x="268" y="172"/>
                  </a:lnTo>
                  <a:lnTo>
                    <a:pt x="212" y="172"/>
                  </a:lnTo>
                  <a:lnTo>
                    <a:pt x="212" y="125"/>
                  </a:lnTo>
                  <a:lnTo>
                    <a:pt x="268" y="125"/>
                  </a:lnTo>
                  <a:lnTo>
                    <a:pt x="268" y="172"/>
                  </a:lnTo>
                  <a:close/>
                  <a:moveTo>
                    <a:pt x="268" y="225"/>
                  </a:moveTo>
                  <a:lnTo>
                    <a:pt x="268" y="225"/>
                  </a:lnTo>
                  <a:lnTo>
                    <a:pt x="212" y="225"/>
                  </a:lnTo>
                  <a:lnTo>
                    <a:pt x="212" y="178"/>
                  </a:lnTo>
                  <a:lnTo>
                    <a:pt x="268" y="178"/>
                  </a:lnTo>
                  <a:lnTo>
                    <a:pt x="268" y="225"/>
                  </a:lnTo>
                  <a:close/>
                  <a:moveTo>
                    <a:pt x="268" y="278"/>
                  </a:moveTo>
                  <a:lnTo>
                    <a:pt x="268" y="278"/>
                  </a:lnTo>
                  <a:lnTo>
                    <a:pt x="212" y="278"/>
                  </a:lnTo>
                  <a:lnTo>
                    <a:pt x="212" y="231"/>
                  </a:lnTo>
                  <a:lnTo>
                    <a:pt x="268" y="231"/>
                  </a:lnTo>
                  <a:lnTo>
                    <a:pt x="268" y="278"/>
                  </a:lnTo>
                  <a:close/>
                  <a:moveTo>
                    <a:pt x="268" y="326"/>
                  </a:moveTo>
                  <a:lnTo>
                    <a:pt x="268" y="326"/>
                  </a:lnTo>
                  <a:cubicBezTo>
                    <a:pt x="268" y="329"/>
                    <a:pt x="266" y="331"/>
                    <a:pt x="263" y="331"/>
                  </a:cubicBezTo>
                  <a:lnTo>
                    <a:pt x="217" y="331"/>
                  </a:lnTo>
                  <a:cubicBezTo>
                    <a:pt x="214" y="331"/>
                    <a:pt x="212" y="329"/>
                    <a:pt x="212" y="326"/>
                  </a:cubicBezTo>
                  <a:lnTo>
                    <a:pt x="212" y="284"/>
                  </a:lnTo>
                  <a:lnTo>
                    <a:pt x="268" y="284"/>
                  </a:lnTo>
                  <a:lnTo>
                    <a:pt x="268" y="326"/>
                  </a:lnTo>
                  <a:close/>
                  <a:moveTo>
                    <a:pt x="205" y="66"/>
                  </a:moveTo>
                  <a:lnTo>
                    <a:pt x="205" y="66"/>
                  </a:lnTo>
                  <a:lnTo>
                    <a:pt x="149" y="66"/>
                  </a:lnTo>
                  <a:lnTo>
                    <a:pt x="149" y="24"/>
                  </a:lnTo>
                  <a:cubicBezTo>
                    <a:pt x="149" y="21"/>
                    <a:pt x="151" y="19"/>
                    <a:pt x="154" y="19"/>
                  </a:cubicBezTo>
                  <a:lnTo>
                    <a:pt x="200" y="19"/>
                  </a:lnTo>
                  <a:cubicBezTo>
                    <a:pt x="203" y="19"/>
                    <a:pt x="205" y="21"/>
                    <a:pt x="205" y="24"/>
                  </a:cubicBezTo>
                  <a:lnTo>
                    <a:pt x="205" y="66"/>
                  </a:lnTo>
                  <a:close/>
                  <a:moveTo>
                    <a:pt x="205" y="119"/>
                  </a:moveTo>
                  <a:lnTo>
                    <a:pt x="205" y="119"/>
                  </a:lnTo>
                  <a:lnTo>
                    <a:pt x="149" y="119"/>
                  </a:lnTo>
                  <a:lnTo>
                    <a:pt x="149" y="72"/>
                  </a:lnTo>
                  <a:lnTo>
                    <a:pt x="205" y="72"/>
                  </a:lnTo>
                  <a:lnTo>
                    <a:pt x="205" y="119"/>
                  </a:lnTo>
                  <a:close/>
                  <a:moveTo>
                    <a:pt x="205" y="172"/>
                  </a:moveTo>
                  <a:lnTo>
                    <a:pt x="205" y="172"/>
                  </a:lnTo>
                  <a:lnTo>
                    <a:pt x="149" y="172"/>
                  </a:lnTo>
                  <a:lnTo>
                    <a:pt x="149" y="125"/>
                  </a:lnTo>
                  <a:lnTo>
                    <a:pt x="205" y="125"/>
                  </a:lnTo>
                  <a:lnTo>
                    <a:pt x="205" y="172"/>
                  </a:lnTo>
                  <a:close/>
                  <a:moveTo>
                    <a:pt x="205" y="225"/>
                  </a:moveTo>
                  <a:lnTo>
                    <a:pt x="205" y="225"/>
                  </a:lnTo>
                  <a:lnTo>
                    <a:pt x="149" y="225"/>
                  </a:lnTo>
                  <a:lnTo>
                    <a:pt x="149" y="178"/>
                  </a:lnTo>
                  <a:lnTo>
                    <a:pt x="205" y="178"/>
                  </a:lnTo>
                  <a:lnTo>
                    <a:pt x="205" y="225"/>
                  </a:lnTo>
                  <a:close/>
                  <a:moveTo>
                    <a:pt x="205" y="278"/>
                  </a:moveTo>
                  <a:lnTo>
                    <a:pt x="205" y="278"/>
                  </a:lnTo>
                  <a:lnTo>
                    <a:pt x="149" y="278"/>
                  </a:lnTo>
                  <a:lnTo>
                    <a:pt x="149" y="231"/>
                  </a:lnTo>
                  <a:lnTo>
                    <a:pt x="205" y="231"/>
                  </a:lnTo>
                  <a:lnTo>
                    <a:pt x="205" y="278"/>
                  </a:lnTo>
                  <a:close/>
                  <a:moveTo>
                    <a:pt x="205" y="326"/>
                  </a:moveTo>
                  <a:lnTo>
                    <a:pt x="205" y="326"/>
                  </a:lnTo>
                  <a:cubicBezTo>
                    <a:pt x="205" y="329"/>
                    <a:pt x="203" y="331"/>
                    <a:pt x="200" y="331"/>
                  </a:cubicBezTo>
                  <a:lnTo>
                    <a:pt x="154" y="331"/>
                  </a:lnTo>
                  <a:cubicBezTo>
                    <a:pt x="151" y="331"/>
                    <a:pt x="149" y="329"/>
                    <a:pt x="149" y="326"/>
                  </a:cubicBezTo>
                  <a:lnTo>
                    <a:pt x="149" y="284"/>
                  </a:lnTo>
                  <a:lnTo>
                    <a:pt x="205" y="284"/>
                  </a:lnTo>
                  <a:lnTo>
                    <a:pt x="205" y="326"/>
                  </a:lnTo>
                  <a:close/>
                  <a:moveTo>
                    <a:pt x="142" y="119"/>
                  </a:moveTo>
                  <a:lnTo>
                    <a:pt x="142" y="119"/>
                  </a:lnTo>
                  <a:lnTo>
                    <a:pt x="86" y="119"/>
                  </a:lnTo>
                  <a:lnTo>
                    <a:pt x="86" y="72"/>
                  </a:lnTo>
                  <a:lnTo>
                    <a:pt x="142" y="72"/>
                  </a:lnTo>
                  <a:lnTo>
                    <a:pt x="142" y="119"/>
                  </a:lnTo>
                  <a:close/>
                  <a:moveTo>
                    <a:pt x="142" y="172"/>
                  </a:moveTo>
                  <a:lnTo>
                    <a:pt x="142" y="172"/>
                  </a:lnTo>
                  <a:lnTo>
                    <a:pt x="86" y="172"/>
                  </a:lnTo>
                  <a:lnTo>
                    <a:pt x="86" y="125"/>
                  </a:lnTo>
                  <a:lnTo>
                    <a:pt x="142" y="125"/>
                  </a:lnTo>
                  <a:lnTo>
                    <a:pt x="142" y="172"/>
                  </a:lnTo>
                  <a:close/>
                  <a:moveTo>
                    <a:pt x="142" y="225"/>
                  </a:moveTo>
                  <a:lnTo>
                    <a:pt x="142" y="225"/>
                  </a:lnTo>
                  <a:lnTo>
                    <a:pt x="86" y="225"/>
                  </a:lnTo>
                  <a:lnTo>
                    <a:pt x="86" y="178"/>
                  </a:lnTo>
                  <a:lnTo>
                    <a:pt x="142" y="178"/>
                  </a:lnTo>
                  <a:lnTo>
                    <a:pt x="142" y="225"/>
                  </a:lnTo>
                  <a:close/>
                  <a:moveTo>
                    <a:pt x="142" y="278"/>
                  </a:moveTo>
                  <a:lnTo>
                    <a:pt x="142" y="278"/>
                  </a:lnTo>
                  <a:lnTo>
                    <a:pt x="86" y="278"/>
                  </a:lnTo>
                  <a:lnTo>
                    <a:pt x="86" y="231"/>
                  </a:lnTo>
                  <a:lnTo>
                    <a:pt x="142" y="231"/>
                  </a:lnTo>
                  <a:lnTo>
                    <a:pt x="142" y="278"/>
                  </a:lnTo>
                  <a:close/>
                  <a:moveTo>
                    <a:pt x="142" y="326"/>
                  </a:moveTo>
                  <a:lnTo>
                    <a:pt x="142" y="326"/>
                  </a:lnTo>
                  <a:cubicBezTo>
                    <a:pt x="142" y="329"/>
                    <a:pt x="140" y="331"/>
                    <a:pt x="138" y="331"/>
                  </a:cubicBezTo>
                  <a:lnTo>
                    <a:pt x="91" y="331"/>
                  </a:lnTo>
                  <a:cubicBezTo>
                    <a:pt x="89" y="331"/>
                    <a:pt x="86" y="329"/>
                    <a:pt x="86" y="326"/>
                  </a:cubicBezTo>
                  <a:lnTo>
                    <a:pt x="86" y="284"/>
                  </a:lnTo>
                  <a:lnTo>
                    <a:pt x="142" y="284"/>
                  </a:lnTo>
                  <a:lnTo>
                    <a:pt x="142" y="326"/>
                  </a:lnTo>
                  <a:close/>
                  <a:moveTo>
                    <a:pt x="79" y="119"/>
                  </a:moveTo>
                  <a:lnTo>
                    <a:pt x="79" y="119"/>
                  </a:lnTo>
                  <a:lnTo>
                    <a:pt x="23" y="119"/>
                  </a:lnTo>
                  <a:lnTo>
                    <a:pt x="23" y="72"/>
                  </a:lnTo>
                  <a:lnTo>
                    <a:pt x="79" y="72"/>
                  </a:lnTo>
                  <a:lnTo>
                    <a:pt x="79" y="119"/>
                  </a:lnTo>
                  <a:close/>
                  <a:moveTo>
                    <a:pt x="79" y="172"/>
                  </a:moveTo>
                  <a:lnTo>
                    <a:pt x="79" y="172"/>
                  </a:lnTo>
                  <a:lnTo>
                    <a:pt x="23" y="172"/>
                  </a:lnTo>
                  <a:lnTo>
                    <a:pt x="23" y="125"/>
                  </a:lnTo>
                  <a:lnTo>
                    <a:pt x="79" y="125"/>
                  </a:lnTo>
                  <a:lnTo>
                    <a:pt x="79" y="172"/>
                  </a:lnTo>
                  <a:close/>
                  <a:moveTo>
                    <a:pt x="79" y="225"/>
                  </a:moveTo>
                  <a:lnTo>
                    <a:pt x="79" y="225"/>
                  </a:lnTo>
                  <a:lnTo>
                    <a:pt x="23" y="225"/>
                  </a:lnTo>
                  <a:lnTo>
                    <a:pt x="23" y="178"/>
                  </a:lnTo>
                  <a:lnTo>
                    <a:pt x="79" y="178"/>
                  </a:lnTo>
                  <a:lnTo>
                    <a:pt x="79" y="225"/>
                  </a:lnTo>
                  <a:close/>
                  <a:moveTo>
                    <a:pt x="79" y="278"/>
                  </a:moveTo>
                  <a:lnTo>
                    <a:pt x="79" y="278"/>
                  </a:lnTo>
                  <a:lnTo>
                    <a:pt x="23" y="278"/>
                  </a:lnTo>
                  <a:lnTo>
                    <a:pt x="23" y="231"/>
                  </a:lnTo>
                  <a:lnTo>
                    <a:pt x="79" y="231"/>
                  </a:lnTo>
                  <a:lnTo>
                    <a:pt x="79" y="278"/>
                  </a:lnTo>
                  <a:close/>
                  <a:moveTo>
                    <a:pt x="79" y="326"/>
                  </a:moveTo>
                  <a:lnTo>
                    <a:pt x="79" y="326"/>
                  </a:lnTo>
                  <a:cubicBezTo>
                    <a:pt x="79" y="329"/>
                    <a:pt x="77" y="331"/>
                    <a:pt x="75" y="331"/>
                  </a:cubicBezTo>
                  <a:lnTo>
                    <a:pt x="28" y="331"/>
                  </a:lnTo>
                  <a:cubicBezTo>
                    <a:pt x="26" y="331"/>
                    <a:pt x="23" y="329"/>
                    <a:pt x="23" y="326"/>
                  </a:cubicBezTo>
                  <a:lnTo>
                    <a:pt x="23" y="284"/>
                  </a:lnTo>
                  <a:lnTo>
                    <a:pt x="79" y="284"/>
                  </a:lnTo>
                  <a:lnTo>
                    <a:pt x="79" y="326"/>
                  </a:lnTo>
                  <a:close/>
                  <a:moveTo>
                    <a:pt x="23" y="24"/>
                  </a:moveTo>
                  <a:lnTo>
                    <a:pt x="23" y="24"/>
                  </a:lnTo>
                  <a:cubicBezTo>
                    <a:pt x="23" y="21"/>
                    <a:pt x="26" y="19"/>
                    <a:pt x="28" y="19"/>
                  </a:cubicBezTo>
                  <a:lnTo>
                    <a:pt x="75" y="19"/>
                  </a:lnTo>
                  <a:cubicBezTo>
                    <a:pt x="77" y="19"/>
                    <a:pt x="79" y="21"/>
                    <a:pt x="79" y="24"/>
                  </a:cubicBezTo>
                  <a:lnTo>
                    <a:pt x="79" y="66"/>
                  </a:lnTo>
                  <a:lnTo>
                    <a:pt x="23" y="66"/>
                  </a:lnTo>
                  <a:lnTo>
                    <a:pt x="23" y="24"/>
                  </a:lnTo>
                  <a:close/>
                  <a:moveTo>
                    <a:pt x="86" y="24"/>
                  </a:moveTo>
                  <a:lnTo>
                    <a:pt x="86" y="24"/>
                  </a:lnTo>
                  <a:cubicBezTo>
                    <a:pt x="86" y="21"/>
                    <a:pt x="89" y="19"/>
                    <a:pt x="91" y="19"/>
                  </a:cubicBezTo>
                  <a:lnTo>
                    <a:pt x="138" y="19"/>
                  </a:lnTo>
                  <a:cubicBezTo>
                    <a:pt x="140" y="19"/>
                    <a:pt x="142" y="21"/>
                    <a:pt x="142" y="24"/>
                  </a:cubicBezTo>
                  <a:lnTo>
                    <a:pt x="142" y="66"/>
                  </a:lnTo>
                  <a:lnTo>
                    <a:pt x="86" y="66"/>
                  </a:lnTo>
                  <a:lnTo>
                    <a:pt x="86" y="24"/>
                  </a:lnTo>
                  <a:close/>
                  <a:moveTo>
                    <a:pt x="0" y="0"/>
                  </a:moveTo>
                  <a:lnTo>
                    <a:pt x="0" y="0"/>
                  </a:lnTo>
                  <a:lnTo>
                    <a:pt x="0" y="425"/>
                  </a:lnTo>
                  <a:lnTo>
                    <a:pt x="23" y="425"/>
                  </a:lnTo>
                  <a:lnTo>
                    <a:pt x="23" y="407"/>
                  </a:lnTo>
                  <a:lnTo>
                    <a:pt x="23" y="360"/>
                  </a:lnTo>
                  <a:lnTo>
                    <a:pt x="23" y="354"/>
                  </a:lnTo>
                  <a:cubicBezTo>
                    <a:pt x="23" y="351"/>
                    <a:pt x="26" y="349"/>
                    <a:pt x="28" y="349"/>
                  </a:cubicBezTo>
                  <a:lnTo>
                    <a:pt x="75" y="349"/>
                  </a:lnTo>
                  <a:cubicBezTo>
                    <a:pt x="77" y="349"/>
                    <a:pt x="79" y="351"/>
                    <a:pt x="79" y="354"/>
                  </a:cubicBezTo>
                  <a:lnTo>
                    <a:pt x="79" y="360"/>
                  </a:lnTo>
                  <a:lnTo>
                    <a:pt x="79" y="407"/>
                  </a:lnTo>
                  <a:lnTo>
                    <a:pt x="79" y="425"/>
                  </a:lnTo>
                  <a:lnTo>
                    <a:pt x="287" y="425"/>
                  </a:lnTo>
                  <a:lnTo>
                    <a:pt x="287" y="0"/>
                  </a:ln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grpSp>
        <p:nvGrpSpPr>
          <p:cNvPr id="8" name="Group 7">
            <a:extLst>
              <a:ext uri="{FF2B5EF4-FFF2-40B4-BE49-F238E27FC236}">
                <a16:creationId xmlns:a16="http://schemas.microsoft.com/office/drawing/2014/main" id="{1D953670-6F9B-A4DC-E6AD-A47F4F24613D}"/>
              </a:ext>
            </a:extLst>
          </p:cNvPr>
          <p:cNvGrpSpPr/>
          <p:nvPr/>
        </p:nvGrpSpPr>
        <p:grpSpPr>
          <a:xfrm>
            <a:off x="3882644" y="1742210"/>
            <a:ext cx="3027559" cy="4582820"/>
            <a:chOff x="3882644" y="1742210"/>
            <a:chExt cx="3027559" cy="4582820"/>
          </a:xfrm>
        </p:grpSpPr>
        <p:sp>
          <p:nvSpPr>
            <p:cNvPr id="30" name="Rectangle 29">
              <a:extLst>
                <a:ext uri="{FF2B5EF4-FFF2-40B4-BE49-F238E27FC236}">
                  <a16:creationId xmlns:a16="http://schemas.microsoft.com/office/drawing/2014/main" id="{8245DFE1-87E8-DA36-1A38-8B951940310D}"/>
                </a:ext>
              </a:extLst>
            </p:cNvPr>
            <p:cNvSpPr/>
            <p:nvPr/>
          </p:nvSpPr>
          <p:spPr>
            <a:xfrm>
              <a:off x="3882644" y="5940855"/>
              <a:ext cx="3027559" cy="384175"/>
            </a:xfrm>
            <a:prstGeom prst="rect">
              <a:avLst/>
            </a:prstGeom>
            <a:solidFill>
              <a:schemeClr val="accent4">
                <a:lumMod val="20000"/>
                <a:lumOff val="80000"/>
              </a:schemeClr>
            </a:solidFill>
          </p:spPr>
          <p:txBody>
            <a:bodyPr wrap="square" anchor="ctr">
              <a:noAutofit/>
            </a:bodyPr>
            <a:lstStyle/>
            <a:p>
              <a:pPr marL="0" marR="0" lvl="0" indent="0" algn="ctr" defTabSz="914400" rtl="0" eaLnBrk="1" fontAlgn="auto" latinLnBrk="0" hangingPunct="1">
                <a:lnSpc>
                  <a:spcPct val="100000"/>
                </a:lnSpc>
                <a:spcBef>
                  <a:spcPct val="0"/>
                </a:spcBef>
                <a:spcAft>
                  <a:spcPct val="0"/>
                </a:spcAft>
                <a:buClrTx/>
                <a:buSzTx/>
                <a:buFontTx/>
                <a:buNone/>
                <a:defRPr/>
              </a:pPr>
              <a:r>
                <a:rPr lang="tr-TR" sz="1800" b="1" i="0" strike="noStrike" cap="none" spc="0" baseline="0">
                  <a:solidFill>
                    <a:srgbClr val="E0A400"/>
                  </a:solidFill>
                  <a:effectLst/>
                  <a:latin typeface="Calibri"/>
                  <a:ea typeface="Calibri"/>
                  <a:cs typeface="Calibri"/>
                </a:rPr>
                <a:t>DOLAYLI</a:t>
              </a:r>
            </a:p>
          </p:txBody>
        </p:sp>
        <p:sp>
          <p:nvSpPr>
            <p:cNvPr id="39" name="Rectangle 38">
              <a:extLst>
                <a:ext uri="{FF2B5EF4-FFF2-40B4-BE49-F238E27FC236}">
                  <a16:creationId xmlns:a16="http://schemas.microsoft.com/office/drawing/2014/main" id="{67FFB6F2-32D5-3885-3156-C3B3105FD094}"/>
                </a:ext>
              </a:extLst>
            </p:cNvPr>
            <p:cNvSpPr/>
            <p:nvPr/>
          </p:nvSpPr>
          <p:spPr>
            <a:xfrm>
              <a:off x="3882644" y="1742210"/>
              <a:ext cx="3027559" cy="45719"/>
            </a:xfrm>
            <a:prstGeom prst="rect">
              <a:avLst/>
            </a:prstGeom>
            <a:solidFill>
              <a:srgbClr val="FFC62C"/>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914400" rtl="0" eaLnBrk="1" fontAlgn="auto" latinLnBrk="0" hangingPunct="1">
                <a:lnSpc>
                  <a:spcPct val="100000"/>
                </a:lnSpc>
                <a:spcBef>
                  <a:spcPct val="0"/>
                </a:spcBef>
                <a:spcAft>
                  <a:spcPct val="0"/>
                </a:spcAft>
                <a:buClrTx/>
                <a:buSzTx/>
                <a:buFontTx/>
                <a:buNone/>
                <a:defRPr/>
              </a:pPr>
              <a:r>
                <a:rPr lang="tr-TR" sz="2400" b="1" i="0" strike="noStrike" cap="none" spc="0" baseline="0">
                  <a:solidFill>
                    <a:srgbClr val="FFC62C"/>
                  </a:solidFill>
                  <a:effectLst/>
                  <a:latin typeface="Calibri"/>
                  <a:ea typeface="Calibri"/>
                  <a:cs typeface="Calibri"/>
                </a:rPr>
                <a:t>KAPSAM 2</a:t>
              </a:r>
              <a:br>
                <a:rPr sz="2400"/>
              </a:br>
              <a:r>
                <a:rPr lang="tr-TR" sz="1000" b="1" i="0" strike="noStrike" cap="none" spc="0" baseline="0">
                  <a:solidFill>
                    <a:srgbClr val="FFC62C"/>
                  </a:solidFill>
                  <a:effectLst/>
                  <a:latin typeface="Calibri"/>
                  <a:ea typeface="Calibri"/>
                  <a:cs typeface="Calibri"/>
                </a:rPr>
                <a:t>ELEKTRİK KULLANIMI</a:t>
              </a:r>
            </a:p>
          </p:txBody>
        </p:sp>
        <p:sp>
          <p:nvSpPr>
            <p:cNvPr id="34" name="Rectangle 33">
              <a:extLst>
                <a:ext uri="{FF2B5EF4-FFF2-40B4-BE49-F238E27FC236}">
                  <a16:creationId xmlns:a16="http://schemas.microsoft.com/office/drawing/2014/main" id="{9161CD7B-3A3F-C125-7FD4-9CDBDC9C7135}"/>
                </a:ext>
              </a:extLst>
            </p:cNvPr>
            <p:cNvSpPr/>
            <p:nvPr/>
          </p:nvSpPr>
          <p:spPr>
            <a:xfrm>
              <a:off x="3882644" y="1831314"/>
              <a:ext cx="3027559" cy="40611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131">
              <a:extLst>
                <a:ext uri="{FF2B5EF4-FFF2-40B4-BE49-F238E27FC236}">
                  <a16:creationId xmlns:a16="http://schemas.microsoft.com/office/drawing/2014/main" id="{8EDA1F39-BFCB-B875-4B55-35DE661781FD}"/>
                </a:ext>
              </a:extLst>
            </p:cNvPr>
            <p:cNvSpPr/>
            <p:nvPr/>
          </p:nvSpPr>
          <p:spPr bwMode="auto">
            <a:xfrm rot="16200000">
              <a:off x="4094477" y="3436279"/>
              <a:ext cx="3903347" cy="1029604"/>
            </a:xfrm>
            <a:custGeom>
              <a:avLst/>
              <a:gdLst>
                <a:gd name="T0" fmla="*/ 1867 w 1867"/>
                <a:gd name="T1" fmla="*/ 130 h 193"/>
                <a:gd name="T2" fmla="*/ 1867 w 1867"/>
                <a:gd name="T3" fmla="*/ 130 h 193"/>
                <a:gd name="T4" fmla="*/ 1860 w 1867"/>
                <a:gd name="T5" fmla="*/ 123 h 193"/>
                <a:gd name="T6" fmla="*/ 1811 w 1867"/>
                <a:gd name="T7" fmla="*/ 123 h 193"/>
                <a:gd name="T8" fmla="*/ 1811 w 1867"/>
                <a:gd name="T9" fmla="*/ 54 h 193"/>
                <a:gd name="T10" fmla="*/ 1860 w 1867"/>
                <a:gd name="T11" fmla="*/ 54 h 193"/>
                <a:gd name="T12" fmla="*/ 1867 w 1867"/>
                <a:gd name="T13" fmla="*/ 47 h 193"/>
                <a:gd name="T14" fmla="*/ 1860 w 1867"/>
                <a:gd name="T15" fmla="*/ 40 h 193"/>
                <a:gd name="T16" fmla="*/ 1811 w 1867"/>
                <a:gd name="T17" fmla="*/ 40 h 193"/>
                <a:gd name="T18" fmla="*/ 1811 w 1867"/>
                <a:gd name="T19" fmla="*/ 6 h 193"/>
                <a:gd name="T20" fmla="*/ 1804 w 1867"/>
                <a:gd name="T21" fmla="*/ 0 h 193"/>
                <a:gd name="T22" fmla="*/ 1728 w 1867"/>
                <a:gd name="T23" fmla="*/ 0 h 193"/>
                <a:gd name="T24" fmla="*/ 1649 w 1867"/>
                <a:gd name="T25" fmla="*/ 61 h 193"/>
                <a:gd name="T26" fmla="*/ 1610 w 1867"/>
                <a:gd name="T27" fmla="*/ 61 h 193"/>
                <a:gd name="T28" fmla="*/ 1603 w 1867"/>
                <a:gd name="T29" fmla="*/ 68 h 193"/>
                <a:gd name="T30" fmla="*/ 1603 w 1867"/>
                <a:gd name="T31" fmla="*/ 82 h 193"/>
                <a:gd name="T32" fmla="*/ 1520 w 1867"/>
                <a:gd name="T33" fmla="*/ 82 h 193"/>
                <a:gd name="T34" fmla="*/ 1486 w 1867"/>
                <a:gd name="T35" fmla="*/ 116 h 193"/>
                <a:gd name="T36" fmla="*/ 1520 w 1867"/>
                <a:gd name="T37" fmla="*/ 151 h 193"/>
                <a:gd name="T38" fmla="*/ 1583 w 1867"/>
                <a:gd name="T39" fmla="*/ 151 h 193"/>
                <a:gd name="T40" fmla="*/ 1597 w 1867"/>
                <a:gd name="T41" fmla="*/ 165 h 193"/>
                <a:gd name="T42" fmla="*/ 1583 w 1867"/>
                <a:gd name="T43" fmla="*/ 179 h 193"/>
                <a:gd name="T44" fmla="*/ 6 w 1867"/>
                <a:gd name="T45" fmla="*/ 179 h 193"/>
                <a:gd name="T46" fmla="*/ 0 w 1867"/>
                <a:gd name="T47" fmla="*/ 186 h 193"/>
                <a:gd name="T48" fmla="*/ 6 w 1867"/>
                <a:gd name="T49" fmla="*/ 193 h 193"/>
                <a:gd name="T50" fmla="*/ 1583 w 1867"/>
                <a:gd name="T51" fmla="*/ 193 h 193"/>
                <a:gd name="T52" fmla="*/ 1610 w 1867"/>
                <a:gd name="T53" fmla="*/ 165 h 193"/>
                <a:gd name="T54" fmla="*/ 1583 w 1867"/>
                <a:gd name="T55" fmla="*/ 137 h 193"/>
                <a:gd name="T56" fmla="*/ 1520 w 1867"/>
                <a:gd name="T57" fmla="*/ 137 h 193"/>
                <a:gd name="T58" fmla="*/ 1500 w 1867"/>
                <a:gd name="T59" fmla="*/ 116 h 193"/>
                <a:gd name="T60" fmla="*/ 1520 w 1867"/>
                <a:gd name="T61" fmla="*/ 96 h 193"/>
                <a:gd name="T62" fmla="*/ 1603 w 1867"/>
                <a:gd name="T63" fmla="*/ 96 h 193"/>
                <a:gd name="T64" fmla="*/ 1603 w 1867"/>
                <a:gd name="T65" fmla="*/ 109 h 193"/>
                <a:gd name="T66" fmla="*/ 1610 w 1867"/>
                <a:gd name="T67" fmla="*/ 116 h 193"/>
                <a:gd name="T68" fmla="*/ 1649 w 1867"/>
                <a:gd name="T69" fmla="*/ 116 h 193"/>
                <a:gd name="T70" fmla="*/ 1728 w 1867"/>
                <a:gd name="T71" fmla="*/ 179 h 193"/>
                <a:gd name="T72" fmla="*/ 1804 w 1867"/>
                <a:gd name="T73" fmla="*/ 179 h 193"/>
                <a:gd name="T74" fmla="*/ 1811 w 1867"/>
                <a:gd name="T75" fmla="*/ 172 h 193"/>
                <a:gd name="T76" fmla="*/ 1811 w 1867"/>
                <a:gd name="T77" fmla="*/ 137 h 193"/>
                <a:gd name="T78" fmla="*/ 1860 w 1867"/>
                <a:gd name="T79" fmla="*/ 137 h 193"/>
                <a:gd name="T80" fmla="*/ 1867 w 1867"/>
                <a:gd name="T81" fmla="*/ 130 h 193"/>
                <a:gd name="connsiteX0" fmla="*/ 9987 w 9987"/>
                <a:gd name="connsiteY0" fmla="*/ 6736 h 10000"/>
                <a:gd name="connsiteX1" fmla="*/ 9987 w 9987"/>
                <a:gd name="connsiteY1" fmla="*/ 6736 h 10000"/>
                <a:gd name="connsiteX2" fmla="*/ 9906 w 9987"/>
                <a:gd name="connsiteY2" fmla="*/ 6373 h 10000"/>
                <a:gd name="connsiteX3" fmla="*/ 9323 w 9987"/>
                <a:gd name="connsiteY3" fmla="*/ 6373 h 10000"/>
                <a:gd name="connsiteX4" fmla="*/ 9323 w 9987"/>
                <a:gd name="connsiteY4" fmla="*/ 2799 h 10000"/>
                <a:gd name="connsiteX5" fmla="*/ 9906 w 9987"/>
                <a:gd name="connsiteY5" fmla="*/ 2799 h 10000"/>
                <a:gd name="connsiteX6" fmla="*/ 9987 w 9987"/>
                <a:gd name="connsiteY6" fmla="*/ 2435 h 10000"/>
                <a:gd name="connsiteX7" fmla="*/ 9906 w 9987"/>
                <a:gd name="connsiteY7" fmla="*/ 2073 h 10000"/>
                <a:gd name="connsiteX8" fmla="*/ 9323 w 9987"/>
                <a:gd name="connsiteY8" fmla="*/ 2073 h 10000"/>
                <a:gd name="connsiteX9" fmla="*/ 9323 w 9987"/>
                <a:gd name="connsiteY9" fmla="*/ 310 h 10000"/>
                <a:gd name="connsiteX10" fmla="*/ 9241 w 9987"/>
                <a:gd name="connsiteY10" fmla="*/ 0 h 10000"/>
                <a:gd name="connsiteX11" fmla="*/ 8337 w 9987"/>
                <a:gd name="connsiteY11" fmla="*/ 0 h 10000"/>
                <a:gd name="connsiteX12" fmla="*/ 7402 w 9987"/>
                <a:gd name="connsiteY12" fmla="*/ 3162 h 10000"/>
                <a:gd name="connsiteX13" fmla="*/ 6939 w 9987"/>
                <a:gd name="connsiteY13" fmla="*/ 3162 h 10000"/>
                <a:gd name="connsiteX14" fmla="*/ 6858 w 9987"/>
                <a:gd name="connsiteY14" fmla="*/ 3523 h 10000"/>
                <a:gd name="connsiteX15" fmla="*/ 6858 w 9987"/>
                <a:gd name="connsiteY15" fmla="*/ 4250 h 10000"/>
                <a:gd name="connsiteX16" fmla="*/ 5874 w 9987"/>
                <a:gd name="connsiteY16" fmla="*/ 4250 h 10000"/>
                <a:gd name="connsiteX17" fmla="*/ 5470 w 9987"/>
                <a:gd name="connsiteY17" fmla="*/ 6010 h 10000"/>
                <a:gd name="connsiteX18" fmla="*/ 5874 w 9987"/>
                <a:gd name="connsiteY18" fmla="*/ 7825 h 10000"/>
                <a:gd name="connsiteX19" fmla="*/ 6621 w 9987"/>
                <a:gd name="connsiteY19" fmla="*/ 7825 h 10000"/>
                <a:gd name="connsiteX20" fmla="*/ 6786 w 9987"/>
                <a:gd name="connsiteY20" fmla="*/ 8550 h 10000"/>
                <a:gd name="connsiteX21" fmla="*/ 6621 w 9987"/>
                <a:gd name="connsiteY21" fmla="*/ 9275 h 10000"/>
                <a:gd name="connsiteX22" fmla="*/ 19 w 9987"/>
                <a:gd name="connsiteY22" fmla="*/ 9313 h 10000"/>
                <a:gd name="connsiteX23" fmla="*/ 7 w 9987"/>
                <a:gd name="connsiteY23" fmla="*/ 9950 h 10000"/>
                <a:gd name="connsiteX24" fmla="*/ 6621 w 9987"/>
                <a:gd name="connsiteY24" fmla="*/ 10000 h 10000"/>
                <a:gd name="connsiteX25" fmla="*/ 6939 w 9987"/>
                <a:gd name="connsiteY25" fmla="*/ 8550 h 10000"/>
                <a:gd name="connsiteX26" fmla="*/ 6621 w 9987"/>
                <a:gd name="connsiteY26" fmla="*/ 7098 h 10000"/>
                <a:gd name="connsiteX27" fmla="*/ 5874 w 9987"/>
                <a:gd name="connsiteY27" fmla="*/ 7098 h 10000"/>
                <a:gd name="connsiteX28" fmla="*/ 5637 w 9987"/>
                <a:gd name="connsiteY28" fmla="*/ 6010 h 10000"/>
                <a:gd name="connsiteX29" fmla="*/ 5874 w 9987"/>
                <a:gd name="connsiteY29" fmla="*/ 4974 h 10000"/>
                <a:gd name="connsiteX30" fmla="*/ 6858 w 9987"/>
                <a:gd name="connsiteY30" fmla="*/ 4974 h 10000"/>
                <a:gd name="connsiteX31" fmla="*/ 6858 w 9987"/>
                <a:gd name="connsiteY31" fmla="*/ 5648 h 10000"/>
                <a:gd name="connsiteX32" fmla="*/ 6939 w 9987"/>
                <a:gd name="connsiteY32" fmla="*/ 6010 h 10000"/>
                <a:gd name="connsiteX33" fmla="*/ 7402 w 9987"/>
                <a:gd name="connsiteY33" fmla="*/ 6010 h 10000"/>
                <a:gd name="connsiteX34" fmla="*/ 8337 w 9987"/>
                <a:gd name="connsiteY34" fmla="*/ 9275 h 10000"/>
                <a:gd name="connsiteX35" fmla="*/ 9241 w 9987"/>
                <a:gd name="connsiteY35" fmla="*/ 9275 h 10000"/>
                <a:gd name="connsiteX36" fmla="*/ 9323 w 9987"/>
                <a:gd name="connsiteY36" fmla="*/ 8912 h 10000"/>
                <a:gd name="connsiteX37" fmla="*/ 9323 w 9987"/>
                <a:gd name="connsiteY37" fmla="*/ 7098 h 10000"/>
                <a:gd name="connsiteX38" fmla="*/ 9906 w 9987"/>
                <a:gd name="connsiteY38" fmla="*/ 7098 h 10000"/>
                <a:gd name="connsiteX39" fmla="*/ 9987 w 9987"/>
                <a:gd name="connsiteY39" fmla="*/ 6736 h 10000"/>
                <a:gd name="connsiteX40" fmla="*/ 10001 w 10001"/>
                <a:gd name="connsiteY40" fmla="*/ 6736 h 1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987" h="10000">
                  <a:moveTo>
                    <a:pt x="9987" y="6736"/>
                  </a:moveTo>
                  <a:lnTo>
                    <a:pt x="9987" y="6736"/>
                  </a:lnTo>
                  <a:cubicBezTo>
                    <a:pt x="9987" y="6529"/>
                    <a:pt x="9941" y="6373"/>
                    <a:pt x="9906" y="6373"/>
                  </a:cubicBezTo>
                  <a:lnTo>
                    <a:pt x="9323" y="6373"/>
                  </a:lnTo>
                  <a:lnTo>
                    <a:pt x="9323" y="2799"/>
                  </a:lnTo>
                  <a:lnTo>
                    <a:pt x="9906" y="2799"/>
                  </a:lnTo>
                  <a:cubicBezTo>
                    <a:pt x="9941" y="2799"/>
                    <a:pt x="9987" y="2642"/>
                    <a:pt x="9987" y="2435"/>
                  </a:cubicBezTo>
                  <a:cubicBezTo>
                    <a:pt x="9987" y="2228"/>
                    <a:pt x="9941" y="2073"/>
                    <a:pt x="9906" y="2073"/>
                  </a:cubicBezTo>
                  <a:lnTo>
                    <a:pt x="9323" y="2073"/>
                  </a:lnTo>
                  <a:lnTo>
                    <a:pt x="9323" y="310"/>
                  </a:lnTo>
                  <a:cubicBezTo>
                    <a:pt x="9323" y="104"/>
                    <a:pt x="9288" y="0"/>
                    <a:pt x="9241" y="0"/>
                  </a:cubicBezTo>
                  <a:lnTo>
                    <a:pt x="8337" y="0"/>
                  </a:lnTo>
                  <a:cubicBezTo>
                    <a:pt x="7900" y="0"/>
                    <a:pt x="7533" y="1295"/>
                    <a:pt x="7402" y="3162"/>
                  </a:cubicBezTo>
                  <a:lnTo>
                    <a:pt x="6939" y="3162"/>
                  </a:lnTo>
                  <a:cubicBezTo>
                    <a:pt x="6904" y="3162"/>
                    <a:pt x="6858" y="3316"/>
                    <a:pt x="6858" y="3523"/>
                  </a:cubicBezTo>
                  <a:lnTo>
                    <a:pt x="6858" y="4250"/>
                  </a:lnTo>
                  <a:lnTo>
                    <a:pt x="5874" y="4250"/>
                  </a:lnTo>
                  <a:cubicBezTo>
                    <a:pt x="5650" y="4250"/>
                    <a:pt x="5470" y="5026"/>
                    <a:pt x="5470" y="6010"/>
                  </a:cubicBezTo>
                  <a:cubicBezTo>
                    <a:pt x="5470" y="6995"/>
                    <a:pt x="5650" y="7825"/>
                    <a:pt x="5874" y="7825"/>
                  </a:cubicBezTo>
                  <a:lnTo>
                    <a:pt x="6621" y="7825"/>
                  </a:lnTo>
                  <a:cubicBezTo>
                    <a:pt x="6703" y="7825"/>
                    <a:pt x="6786" y="8136"/>
                    <a:pt x="6786" y="8550"/>
                  </a:cubicBezTo>
                  <a:cubicBezTo>
                    <a:pt x="6786" y="8912"/>
                    <a:pt x="6703" y="9275"/>
                    <a:pt x="6621" y="9275"/>
                  </a:cubicBezTo>
                  <a:lnTo>
                    <a:pt x="19" y="9313"/>
                  </a:lnTo>
                  <a:cubicBezTo>
                    <a:pt x="4" y="9340"/>
                    <a:pt x="-7" y="9921"/>
                    <a:pt x="7" y="9950"/>
                  </a:cubicBezTo>
                  <a:cubicBezTo>
                    <a:pt x="21" y="9979"/>
                    <a:pt x="389" y="10000"/>
                    <a:pt x="6621" y="10000"/>
                  </a:cubicBezTo>
                  <a:cubicBezTo>
                    <a:pt x="6798" y="9948"/>
                    <a:pt x="6939" y="9325"/>
                    <a:pt x="6939" y="8550"/>
                  </a:cubicBezTo>
                  <a:cubicBezTo>
                    <a:pt x="6939" y="7720"/>
                    <a:pt x="6798" y="7098"/>
                    <a:pt x="6621" y="7098"/>
                  </a:cubicBezTo>
                  <a:lnTo>
                    <a:pt x="5874" y="7098"/>
                  </a:lnTo>
                  <a:cubicBezTo>
                    <a:pt x="5742" y="7098"/>
                    <a:pt x="5637" y="6632"/>
                    <a:pt x="5637" y="6010"/>
                  </a:cubicBezTo>
                  <a:cubicBezTo>
                    <a:pt x="5637" y="5440"/>
                    <a:pt x="5742" y="4974"/>
                    <a:pt x="5874" y="4974"/>
                  </a:cubicBezTo>
                  <a:lnTo>
                    <a:pt x="6858" y="4974"/>
                  </a:lnTo>
                  <a:lnTo>
                    <a:pt x="6858" y="5648"/>
                  </a:lnTo>
                  <a:cubicBezTo>
                    <a:pt x="6858" y="5855"/>
                    <a:pt x="6904" y="6010"/>
                    <a:pt x="6939" y="6010"/>
                  </a:cubicBezTo>
                  <a:lnTo>
                    <a:pt x="7402" y="6010"/>
                  </a:lnTo>
                  <a:cubicBezTo>
                    <a:pt x="7533" y="7877"/>
                    <a:pt x="7900" y="9275"/>
                    <a:pt x="8337" y="9275"/>
                  </a:cubicBezTo>
                  <a:lnTo>
                    <a:pt x="9241" y="9275"/>
                  </a:lnTo>
                  <a:cubicBezTo>
                    <a:pt x="9288" y="9275"/>
                    <a:pt x="9323" y="9119"/>
                    <a:pt x="9323" y="8912"/>
                  </a:cubicBezTo>
                  <a:lnTo>
                    <a:pt x="9323" y="7098"/>
                  </a:lnTo>
                  <a:lnTo>
                    <a:pt x="9906" y="7098"/>
                  </a:lnTo>
                  <a:cubicBezTo>
                    <a:pt x="9941" y="7098"/>
                    <a:pt x="9987" y="6943"/>
                    <a:pt x="9987" y="6736"/>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9" name="Rectangle 28">
              <a:extLst>
                <a:ext uri="{FF2B5EF4-FFF2-40B4-BE49-F238E27FC236}">
                  <a16:creationId xmlns:a16="http://schemas.microsoft.com/office/drawing/2014/main" id="{CE3409FD-0B1D-6861-BC10-0B8055B63B12}"/>
                </a:ext>
              </a:extLst>
            </p:cNvPr>
            <p:cNvSpPr/>
            <p:nvPr/>
          </p:nvSpPr>
          <p:spPr>
            <a:xfrm>
              <a:off x="3989203" y="5080430"/>
              <a:ext cx="2430779" cy="711199"/>
            </a:xfrm>
            <a:prstGeom prst="rect">
              <a:avLst/>
            </a:prstGeom>
          </p:spPr>
          <p:txBody>
            <a:bodyPr wrap="square" anchor="ctr">
              <a:noAutofit/>
            </a:bodyPr>
            <a:lstStyle/>
            <a:p>
              <a:pPr marL="0" marR="0" lvl="0" indent="0" algn="l" defTabSz="914400" rtl="0" eaLnBrk="1" fontAlgn="auto" latinLnBrk="0" hangingPunct="1">
                <a:lnSpc>
                  <a:spcPct val="100000"/>
                </a:lnSpc>
                <a:spcBef>
                  <a:spcPct val="0"/>
                </a:spcBef>
                <a:spcAft>
                  <a:spcPct val="0"/>
                </a:spcAft>
                <a:buClrTx/>
                <a:buSzTx/>
                <a:buFontTx/>
                <a:buNone/>
                <a:defRPr/>
              </a:pPr>
              <a:r>
                <a:rPr lang="tr-TR" sz="1600" b="1" i="0" strike="noStrike" cap="none" spc="0" baseline="0">
                  <a:solidFill>
                    <a:srgbClr val="000000"/>
                  </a:solidFill>
                  <a:effectLst/>
                  <a:latin typeface="Calibri"/>
                  <a:ea typeface="Calibri"/>
                  <a:cs typeface="Calibri"/>
                </a:rPr>
                <a:t>Kendi kullanımı için satın alınan elektrik, buhar, ısıtma ve soğutma</a:t>
              </a:r>
            </a:p>
          </p:txBody>
        </p:sp>
      </p:grpSp>
      <p:sp>
        <p:nvSpPr>
          <p:cNvPr id="55" name="Oval 54">
            <a:extLst>
              <a:ext uri="{FF2B5EF4-FFF2-40B4-BE49-F238E27FC236}">
                <a16:creationId xmlns:a16="http://schemas.microsoft.com/office/drawing/2014/main" id="{029D5EFC-3E84-0284-E4F4-9FA7A861D1FE}"/>
              </a:ext>
            </a:extLst>
          </p:cNvPr>
          <p:cNvSpPr/>
          <p:nvPr/>
        </p:nvSpPr>
        <p:spPr>
          <a:xfrm>
            <a:off x="7367941" y="3368351"/>
            <a:ext cx="827770" cy="827770"/>
          </a:xfrm>
          <a:prstGeom prst="ellipse">
            <a:avLst/>
          </a:prstGeom>
          <a:solidFill>
            <a:schemeClr val="bg1"/>
          </a:solidFill>
          <a:ln>
            <a:solidFill>
              <a:schemeClr val="bg1"/>
            </a:solidFill>
          </a:ln>
          <a:effectLst>
            <a:outerShdw blurRad="50800" dist="38100" algn="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a:solidFill>
                  <a:schemeClr val="tx1"/>
                </a:solidFill>
                <a:sym typeface="Wingdings" pitchFamily="2" charset="2"/>
              </a:rPr>
              <a:t></a:t>
            </a:r>
            <a:endParaRPr lang="en-US" sz="4400">
              <a:solidFill>
                <a:schemeClr val="tx1"/>
              </a:solidFill>
            </a:endParaRPr>
          </a:p>
        </p:txBody>
      </p:sp>
      <p:sp>
        <p:nvSpPr>
          <p:cNvPr id="69" name="Rectangle 68">
            <a:extLst>
              <a:ext uri="{FF2B5EF4-FFF2-40B4-BE49-F238E27FC236}">
                <a16:creationId xmlns:a16="http://schemas.microsoft.com/office/drawing/2014/main" id="{5DBE5310-A1DF-1DAA-79FC-DDD230FD3975}"/>
              </a:ext>
            </a:extLst>
          </p:cNvPr>
          <p:cNvSpPr/>
          <p:nvPr/>
        </p:nvSpPr>
        <p:spPr>
          <a:xfrm>
            <a:off x="8651497" y="1292297"/>
            <a:ext cx="2831076" cy="502196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2400" b="0" i="0" strike="noStrike" cap="none" spc="0" baseline="0">
                <a:solidFill>
                  <a:srgbClr val="000000"/>
                </a:solidFill>
                <a:effectLst/>
                <a:latin typeface="Calibri"/>
                <a:ea typeface="Calibri"/>
                <a:cs typeface="Calibri"/>
              </a:rPr>
              <a:t>Kapsam 1+2 Emisyonlarınız PepsiCo’nun Kapsam 3 Emisyonlarıdır</a:t>
            </a:r>
          </a:p>
        </p:txBody>
      </p:sp>
    </p:spTree>
    <p:extLst>
      <p:ext uri="{BB962C8B-B14F-4D97-AF65-F5344CB8AC3E}">
        <p14:creationId xmlns:p14="http://schemas.microsoft.com/office/powerpoint/2010/main" val="370563131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86D9C33E-F37F-9213-B3B9-EB8315AF6D8A}"/>
              </a:ext>
            </a:extLst>
          </p:cNvPr>
          <p:cNvSpPr/>
          <p:nvPr/>
        </p:nvSpPr>
        <p:spPr>
          <a:xfrm>
            <a:off x="0" y="1447320"/>
            <a:ext cx="12192000" cy="3154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0322A98-ADF0-1D07-C246-C7605E6895FF}"/>
              </a:ext>
            </a:extLst>
          </p:cNvPr>
          <p:cNvSpPr/>
          <p:nvPr/>
        </p:nvSpPr>
        <p:spPr>
          <a:xfrm>
            <a:off x="606847" y="2162287"/>
            <a:ext cx="10972376" cy="423851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E6B783CD-03EB-1283-205F-79A32FA6B462}"/>
              </a:ext>
            </a:extLst>
          </p:cNvPr>
          <p:cNvGraphicFramePr>
            <a:graphicFrameLocks noChangeAspect="1"/>
          </p:cNvGraphicFramePr>
          <p:nvPr>
            <p:custDataLst>
              <p:tags r:id="rId1"/>
            </p:custDataLst>
            <p:extLst>
              <p:ext uri="{D42A27DB-BD31-4B8C-83A1-F6EECF244321}">
                <p14:modId xmlns:p14="http://schemas.microsoft.com/office/powerpoint/2010/main" val="111550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E6B783CD-03EB-1283-205F-79A32FA6B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Sera gazı ayak izi 4 aşamada tamamlanır</a:t>
            </a:r>
          </a:p>
        </p:txBody>
      </p:sp>
      <p:graphicFrame>
        <p:nvGraphicFramePr>
          <p:cNvPr id="6" name="Table 6">
            <a:extLst>
              <a:ext uri="{FF2B5EF4-FFF2-40B4-BE49-F238E27FC236}">
                <a16:creationId xmlns:a16="http://schemas.microsoft.com/office/drawing/2014/main" id="{8610CE14-DF81-9749-A915-12D4F0B6809D}"/>
              </a:ext>
            </a:extLst>
          </p:cNvPr>
          <p:cNvGraphicFramePr>
            <a:graphicFrameLocks noGrp="1"/>
          </p:cNvGraphicFramePr>
          <p:nvPr>
            <p:ph idx="4294967295"/>
            <p:extLst>
              <p:ext uri="{D42A27DB-BD31-4B8C-83A1-F6EECF244321}">
                <p14:modId xmlns:p14="http://schemas.microsoft.com/office/powerpoint/2010/main" val="3604794999"/>
              </p:ext>
            </p:extLst>
          </p:nvPr>
        </p:nvGraphicFramePr>
        <p:xfrm>
          <a:off x="606849" y="2162287"/>
          <a:ext cx="10972376" cy="4238513"/>
        </p:xfrm>
        <a:graphic>
          <a:graphicData uri="http://schemas.openxmlformats.org/drawingml/2006/table">
            <a:tbl>
              <a:tblPr firstRow="1" bandRow="1">
                <a:tableStyleId>{5C22544A-7EE6-4342-B048-85BDC9FD1C3A}</a:tableStyleId>
              </a:tblPr>
              <a:tblGrid>
                <a:gridCol w="2416050">
                  <a:extLst>
                    <a:ext uri="{9D8B030D-6E8A-4147-A177-3AD203B41FA5}">
                      <a16:colId xmlns:a16="http://schemas.microsoft.com/office/drawing/2014/main" val="1568021051"/>
                    </a:ext>
                  </a:extLst>
                </a:gridCol>
                <a:gridCol w="2398955">
                  <a:extLst>
                    <a:ext uri="{9D8B030D-6E8A-4147-A177-3AD203B41FA5}">
                      <a16:colId xmlns:a16="http://schemas.microsoft.com/office/drawing/2014/main" val="2458546264"/>
                    </a:ext>
                  </a:extLst>
                </a:gridCol>
                <a:gridCol w="2840019">
                  <a:extLst>
                    <a:ext uri="{9D8B030D-6E8A-4147-A177-3AD203B41FA5}">
                      <a16:colId xmlns:a16="http://schemas.microsoft.com/office/drawing/2014/main" val="1486319930"/>
                    </a:ext>
                  </a:extLst>
                </a:gridCol>
                <a:gridCol w="3317352">
                  <a:extLst>
                    <a:ext uri="{9D8B030D-6E8A-4147-A177-3AD203B41FA5}">
                      <a16:colId xmlns:a16="http://schemas.microsoft.com/office/drawing/2014/main" val="2948970354"/>
                    </a:ext>
                  </a:extLst>
                </a:gridCol>
              </a:tblGrid>
              <a:tr h="845242">
                <a:tc>
                  <a:txBody>
                    <a:bodyPr/>
                    <a:lstStyle/>
                    <a:p>
                      <a:pPr algn="ctr">
                        <a:spcAft>
                          <a:spcPts val="500"/>
                        </a:spcAft>
                      </a:pPr>
                      <a:r>
                        <a:rPr lang="tr-TR" sz="1800" b="1" i="0" strike="noStrike" cap="none" spc="0" baseline="0">
                          <a:solidFill>
                            <a:srgbClr val="0065E5"/>
                          </a:solidFill>
                          <a:effectLst/>
                          <a:latin typeface="Calibri"/>
                          <a:ea typeface="Calibri"/>
                          <a:cs typeface="Calibri"/>
                        </a:rPr>
                        <a:t>1. Planlama ve</a:t>
                      </a:r>
                      <a:br>
                        <a:rPr sz="1800"/>
                      </a:br>
                      <a:r>
                        <a:rPr lang="tr-TR" sz="1800" b="1" i="0" strike="noStrike" cap="none" spc="0" baseline="0">
                          <a:solidFill>
                            <a:srgbClr val="0065E5"/>
                          </a:solidFill>
                          <a:effectLst/>
                          <a:latin typeface="Calibri"/>
                          <a:ea typeface="Calibri"/>
                          <a:cs typeface="Calibri"/>
                        </a:rPr>
                        <a:t>Hazırlık</a:t>
                      </a:r>
                    </a:p>
                  </a:txBody>
                  <a:tcPr anchor="ctr">
                    <a:lnL w="12700" cmpd="sng">
                      <a:noFill/>
                    </a:lnL>
                    <a:lnR w="6350" cap="flat" cmpd="sng" algn="ctr">
                      <a:solidFill>
                        <a:schemeClr val="bg1">
                          <a:lumMod val="75000"/>
                        </a:schemeClr>
                      </a:solidFill>
                      <a:prstDash val="dash"/>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tr-TR" sz="1800" b="1" i="0" strike="noStrike" cap="none" spc="0" baseline="0">
                          <a:solidFill>
                            <a:srgbClr val="0065E5"/>
                          </a:solidFill>
                          <a:effectLst/>
                          <a:latin typeface="Calibri"/>
                          <a:ea typeface="Calibri"/>
                          <a:cs typeface="Calibri"/>
                        </a:rPr>
                        <a:t>2. Veri Toplama</a:t>
                      </a: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tr-TR" sz="1800" b="1" i="0" strike="noStrike" cap="none" spc="0" baseline="0">
                          <a:solidFill>
                            <a:srgbClr val="0065E5"/>
                          </a:solidFill>
                          <a:effectLst/>
                          <a:latin typeface="Calibri"/>
                          <a:ea typeface="Calibri"/>
                          <a:cs typeface="Calibri"/>
                        </a:rPr>
                        <a:t>3. Veri Hesaplama ve Değerlendirme</a:t>
                      </a: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ct val="0"/>
                        </a:spcBef>
                        <a:spcAft>
                          <a:spcPts val="500"/>
                        </a:spcAft>
                        <a:buClrTx/>
                        <a:buSzTx/>
                        <a:buFontTx/>
                        <a:buNone/>
                        <a:defRPr/>
                      </a:pPr>
                      <a:r>
                        <a:rPr lang="tr-TR" sz="1800" b="1" i="0" strike="noStrike" cap="none" spc="0" baseline="0">
                          <a:solidFill>
                            <a:srgbClr val="0065E5"/>
                          </a:solidFill>
                          <a:effectLst/>
                          <a:latin typeface="Calibri"/>
                          <a:ea typeface="Calibri"/>
                          <a:cs typeface="Calibri"/>
                        </a:rPr>
                        <a:t>4. Ayak İzi İzleme</a:t>
                      </a:r>
                      <a:br>
                        <a:rPr sz="1800"/>
                      </a:br>
                      <a:r>
                        <a:rPr lang="tr-TR" sz="1800" b="1" i="0" strike="noStrike" cap="none" spc="0" baseline="0">
                          <a:solidFill>
                            <a:srgbClr val="0065E5"/>
                          </a:solidFill>
                          <a:effectLst/>
                          <a:latin typeface="Calibri"/>
                          <a:ea typeface="Calibri"/>
                          <a:cs typeface="Calibri"/>
                        </a:rPr>
                        <a:t>ve Revize Etme</a:t>
                      </a: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9387748"/>
                  </a:ext>
                </a:extLst>
              </a:tr>
              <a:tr h="2250318">
                <a:tc>
                  <a:txBody>
                    <a:bodyPr/>
                    <a:lstStyle/>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Ayak izi ekibini belirleyin</a:t>
                      </a:r>
                    </a:p>
                    <a:p>
                      <a:pPr marL="228600" marR="0" lvl="0" indent="-228600" algn="l" defTabSz="685800" rtl="0" eaLnBrk="1" fontAlgn="auto" latinLnBrk="0" hangingPunct="1">
                        <a:lnSpc>
                          <a:spcPct val="100000"/>
                        </a:lnSpc>
                        <a:spcBef>
                          <a:spcPts val="600"/>
                        </a:spcBef>
                        <a:spcAft>
                          <a:spcPts val="600"/>
                        </a:spcAft>
                        <a:buClrTx/>
                        <a:buSzTx/>
                        <a:buFont typeface="+mj-lt"/>
                        <a:buAutoNum type="alphaLcParenR"/>
                        <a:defRPr/>
                      </a:pPr>
                      <a:r>
                        <a:rPr lang="tr-TR" sz="1600" b="0" i="0" strike="noStrike" cap="none" spc="0" baseline="0">
                          <a:solidFill>
                            <a:srgbClr val="000000"/>
                          </a:solidFill>
                          <a:effectLst/>
                          <a:latin typeface="Calibri"/>
                          <a:ea typeface="Calibri"/>
                          <a:cs typeface="Calibri"/>
                        </a:rPr>
                        <a:t>Kurumsal sınır belirleyin</a:t>
                      </a:r>
                    </a:p>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Emisyonların nasıl hesaplanacağını anlayın</a:t>
                      </a:r>
                    </a:p>
                  </a:txBody>
                  <a:tcPr marT="274320">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Veri toplama yöntemini tanımlayın</a:t>
                      </a:r>
                    </a:p>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Faaliyet verilerini toplayın</a:t>
                      </a:r>
                    </a:p>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Emisyon faktörlerini toplayın</a:t>
                      </a: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Karbon ayak izini hesaplayın</a:t>
                      </a: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Dahili izleme ve raporlama</a:t>
                      </a:r>
                    </a:p>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Harici ayak izi doğrulaması </a:t>
                      </a:r>
                    </a:p>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Emisyon azaltma ilerlemesi</a:t>
                      </a:r>
                    </a:p>
                    <a:p>
                      <a:pPr marL="228600" indent="-228600" algn="l">
                        <a:spcBef>
                          <a:spcPts val="600"/>
                        </a:spcBef>
                        <a:spcAft>
                          <a:spcPts val="600"/>
                        </a:spcAft>
                        <a:buFont typeface="+mj-lt"/>
                        <a:buAutoNum type="alphaLcParenR"/>
                      </a:pPr>
                      <a:r>
                        <a:rPr lang="tr-TR" sz="1600" b="0" i="0" strike="noStrike" cap="none" spc="0" baseline="0">
                          <a:solidFill>
                            <a:srgbClr val="000000"/>
                          </a:solidFill>
                          <a:effectLst/>
                          <a:latin typeface="Calibri"/>
                          <a:ea typeface="Calibri"/>
                          <a:cs typeface="Calibri"/>
                        </a:rPr>
                        <a:t>Doğruluğu ve etkiyi artırmak için yaklaşımı revize edin</a:t>
                      </a:r>
                    </a:p>
                  </a:txBody>
                  <a:tcPr marT="274320">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562080"/>
                  </a:ext>
                </a:extLst>
              </a:tr>
              <a:tr h="1142953">
                <a:tc>
                  <a:txBody>
                    <a:bodyPr/>
                    <a:lstStyle/>
                    <a:p>
                      <a:pPr marL="0" indent="0" algn="l">
                        <a:spcBef>
                          <a:spcPts val="600"/>
                        </a:spcBef>
                        <a:spcAft>
                          <a:spcPts val="600"/>
                        </a:spcAft>
                        <a:buFont typeface="+mj-lt"/>
                        <a:buNone/>
                      </a:pPr>
                      <a:r>
                        <a:rPr lang="tr-TR" sz="1600" b="0" i="1" strike="noStrike" cap="none" spc="0" baseline="0">
                          <a:solidFill>
                            <a:srgbClr val="000000"/>
                          </a:solidFill>
                          <a:effectLst/>
                          <a:latin typeface="Calibri"/>
                          <a:ea typeface="Calibri"/>
                          <a:cs typeface="Calibri"/>
                        </a:rPr>
                        <a:t>Ek Hususlar</a:t>
                      </a:r>
                    </a:p>
                  </a:txBody>
                  <a:tcPr anchor="ctr">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r>
                        <a:rPr lang="tr-TR" sz="1600" b="0" i="0" strike="noStrike" cap="none" spc="0" baseline="0">
                          <a:solidFill>
                            <a:srgbClr val="000000"/>
                          </a:solidFill>
                          <a:effectLst/>
                          <a:latin typeface="Calibri"/>
                          <a:ea typeface="Calibri"/>
                          <a:cs typeface="Calibri"/>
                        </a:rPr>
                        <a:t>d) Veri kalitesini değerlendirin</a:t>
                      </a:r>
                      <a:endParaRPr lang="en-US" sz="1600" b="0" i="1" strike="sngStrike" baseline="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r>
                        <a:rPr lang="tr-TR" sz="1600" b="0" i="0" strike="noStrike" cap="none" spc="0" baseline="0">
                          <a:solidFill>
                            <a:srgbClr val="000000"/>
                          </a:solidFill>
                          <a:effectLst/>
                          <a:latin typeface="Calibri"/>
                          <a:ea typeface="Calibri"/>
                          <a:cs typeface="Calibri"/>
                        </a:rPr>
                        <a:t>b) Belirsizlik ve hassasiyeti değerlendirin</a:t>
                      </a:r>
                      <a:endParaRPr lang="en-US" sz="1600" b="0" i="1" strike="sngStrike" baseline="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a:spcBef>
                          <a:spcPts val="600"/>
                        </a:spcBef>
                        <a:spcAft>
                          <a:spcPts val="600"/>
                        </a:spcAft>
                        <a:buFont typeface="+mj-lt"/>
                        <a:buNone/>
                      </a:pPr>
                      <a:endParaRPr lang="en-US" sz="1600" b="0" i="1">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5865234"/>
                  </a:ext>
                </a:extLst>
              </a:tr>
            </a:tbl>
          </a:graphicData>
        </a:graphic>
      </p:graphicFrame>
      <p:grpSp>
        <p:nvGrpSpPr>
          <p:cNvPr id="16" name="Group 15">
            <a:extLst>
              <a:ext uri="{FF2B5EF4-FFF2-40B4-BE49-F238E27FC236}">
                <a16:creationId xmlns:a16="http://schemas.microsoft.com/office/drawing/2014/main" id="{4C92FD50-7C76-F639-03A4-2C9CAABA82FD}"/>
              </a:ext>
            </a:extLst>
          </p:cNvPr>
          <p:cNvGrpSpPr/>
          <p:nvPr/>
        </p:nvGrpSpPr>
        <p:grpSpPr>
          <a:xfrm>
            <a:off x="1645898" y="2917623"/>
            <a:ext cx="8450540" cy="176016"/>
            <a:chOff x="1645898" y="3016088"/>
            <a:chExt cx="8450540" cy="176016"/>
          </a:xfrm>
        </p:grpSpPr>
        <p:sp>
          <p:nvSpPr>
            <p:cNvPr id="3" name="Oval 2">
              <a:extLst>
                <a:ext uri="{FF2B5EF4-FFF2-40B4-BE49-F238E27FC236}">
                  <a16:creationId xmlns:a16="http://schemas.microsoft.com/office/drawing/2014/main" id="{65FE1681-E800-0B44-B38B-A1C66E13C598}"/>
                </a:ext>
              </a:extLst>
            </p:cNvPr>
            <p:cNvSpPr/>
            <p:nvPr/>
          </p:nvSpPr>
          <p:spPr>
            <a:xfrm>
              <a:off x="1645898"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8" name="Oval 7">
              <a:extLst>
                <a:ext uri="{FF2B5EF4-FFF2-40B4-BE49-F238E27FC236}">
                  <a16:creationId xmlns:a16="http://schemas.microsoft.com/office/drawing/2014/main" id="{531AE80A-C04E-0645-B63C-F1D9AA3D9940}"/>
                </a:ext>
              </a:extLst>
            </p:cNvPr>
            <p:cNvSpPr/>
            <p:nvPr/>
          </p:nvSpPr>
          <p:spPr>
            <a:xfrm>
              <a:off x="4130936"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9" name="Oval 8">
              <a:extLst>
                <a:ext uri="{FF2B5EF4-FFF2-40B4-BE49-F238E27FC236}">
                  <a16:creationId xmlns:a16="http://schemas.microsoft.com/office/drawing/2014/main" id="{4976760A-6BAB-2B4A-8697-87347B81908C}"/>
                </a:ext>
              </a:extLst>
            </p:cNvPr>
            <p:cNvSpPr/>
            <p:nvPr/>
          </p:nvSpPr>
          <p:spPr>
            <a:xfrm>
              <a:off x="6793903"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0" name="Oval 9">
              <a:extLst>
                <a:ext uri="{FF2B5EF4-FFF2-40B4-BE49-F238E27FC236}">
                  <a16:creationId xmlns:a16="http://schemas.microsoft.com/office/drawing/2014/main" id="{13BD1580-153A-344C-AEA8-A6E06DD07C11}"/>
                </a:ext>
              </a:extLst>
            </p:cNvPr>
            <p:cNvSpPr/>
            <p:nvPr/>
          </p:nvSpPr>
          <p:spPr>
            <a:xfrm>
              <a:off x="9920422"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grpSp>
      <p:grpSp>
        <p:nvGrpSpPr>
          <p:cNvPr id="25" name="Group 24">
            <a:extLst>
              <a:ext uri="{FF2B5EF4-FFF2-40B4-BE49-F238E27FC236}">
                <a16:creationId xmlns:a16="http://schemas.microsoft.com/office/drawing/2014/main" id="{7E3F60E3-B2AF-8A37-2794-0C1D02054C4F}"/>
              </a:ext>
            </a:extLst>
          </p:cNvPr>
          <p:cNvGrpSpPr/>
          <p:nvPr/>
        </p:nvGrpSpPr>
        <p:grpSpPr>
          <a:xfrm>
            <a:off x="2817396" y="2365375"/>
            <a:ext cx="407296" cy="407296"/>
            <a:chOff x="2820520" y="2611216"/>
            <a:chExt cx="325112" cy="325112"/>
          </a:xfrm>
        </p:grpSpPr>
        <p:sp>
          <p:nvSpPr>
            <p:cNvPr id="20" name="Oval 19">
              <a:extLst>
                <a:ext uri="{FF2B5EF4-FFF2-40B4-BE49-F238E27FC236}">
                  <a16:creationId xmlns:a16="http://schemas.microsoft.com/office/drawing/2014/main" id="{6C359AA2-0C9E-FCC2-99A4-D10814199A43}"/>
                </a:ext>
              </a:extLst>
            </p:cNvPr>
            <p:cNvSpPr/>
            <p:nvPr/>
          </p:nvSpPr>
          <p:spPr>
            <a:xfrm>
              <a:off x="2820520"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4" name="Arrow: Chevron 13">
              <a:extLst>
                <a:ext uri="{FF2B5EF4-FFF2-40B4-BE49-F238E27FC236}">
                  <a16:creationId xmlns:a16="http://schemas.microsoft.com/office/drawing/2014/main" id="{19A72AFC-CA3F-6CF6-FE2E-8FE6CB2768E1}"/>
                </a:ext>
              </a:extLst>
            </p:cNvPr>
            <p:cNvSpPr/>
            <p:nvPr/>
          </p:nvSpPr>
          <p:spPr>
            <a:xfrm>
              <a:off x="2899347"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Group 14">
            <a:extLst>
              <a:ext uri="{FF2B5EF4-FFF2-40B4-BE49-F238E27FC236}">
                <a16:creationId xmlns:a16="http://schemas.microsoft.com/office/drawing/2014/main" id="{2C6D3F92-DAA3-F953-EEC6-732741F69F2A}"/>
              </a:ext>
            </a:extLst>
          </p:cNvPr>
          <p:cNvGrpSpPr/>
          <p:nvPr/>
        </p:nvGrpSpPr>
        <p:grpSpPr>
          <a:xfrm>
            <a:off x="5212950" y="2365375"/>
            <a:ext cx="407296" cy="407296"/>
            <a:chOff x="5280476" y="2611216"/>
            <a:chExt cx="325112" cy="325112"/>
          </a:xfrm>
        </p:grpSpPr>
        <p:sp>
          <p:nvSpPr>
            <p:cNvPr id="21" name="Oval 20">
              <a:extLst>
                <a:ext uri="{FF2B5EF4-FFF2-40B4-BE49-F238E27FC236}">
                  <a16:creationId xmlns:a16="http://schemas.microsoft.com/office/drawing/2014/main" id="{4A9E1E7D-0392-E5E8-CDCE-B70E38B234A2}"/>
                </a:ext>
              </a:extLst>
            </p:cNvPr>
            <p:cNvSpPr/>
            <p:nvPr/>
          </p:nvSpPr>
          <p:spPr>
            <a:xfrm>
              <a:off x="5280476"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22" name="Arrow: Chevron 21">
              <a:extLst>
                <a:ext uri="{FF2B5EF4-FFF2-40B4-BE49-F238E27FC236}">
                  <a16:creationId xmlns:a16="http://schemas.microsoft.com/office/drawing/2014/main" id="{5E691E38-08CB-9A46-E522-AFA9023F6BB5}"/>
                </a:ext>
              </a:extLst>
            </p:cNvPr>
            <p:cNvSpPr/>
            <p:nvPr/>
          </p:nvSpPr>
          <p:spPr>
            <a:xfrm>
              <a:off x="5359303"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6" name="Group 25">
            <a:extLst>
              <a:ext uri="{FF2B5EF4-FFF2-40B4-BE49-F238E27FC236}">
                <a16:creationId xmlns:a16="http://schemas.microsoft.com/office/drawing/2014/main" id="{EBA3998C-CF8B-6CA8-3DDA-2ED5F1A468DC}"/>
              </a:ext>
            </a:extLst>
          </p:cNvPr>
          <p:cNvGrpSpPr/>
          <p:nvPr/>
        </p:nvGrpSpPr>
        <p:grpSpPr>
          <a:xfrm>
            <a:off x="8058884" y="2365375"/>
            <a:ext cx="407296" cy="407296"/>
            <a:chOff x="8104738" y="2611216"/>
            <a:chExt cx="325112" cy="325112"/>
          </a:xfrm>
        </p:grpSpPr>
        <p:sp>
          <p:nvSpPr>
            <p:cNvPr id="23" name="Oval 22">
              <a:extLst>
                <a:ext uri="{FF2B5EF4-FFF2-40B4-BE49-F238E27FC236}">
                  <a16:creationId xmlns:a16="http://schemas.microsoft.com/office/drawing/2014/main" id="{43E7A0EB-2DD4-145D-30F3-E2B13E94DCA6}"/>
                </a:ext>
              </a:extLst>
            </p:cNvPr>
            <p:cNvSpPr/>
            <p:nvPr/>
          </p:nvSpPr>
          <p:spPr>
            <a:xfrm>
              <a:off x="8104738"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24" name="Arrow: Chevron 23">
              <a:extLst>
                <a:ext uri="{FF2B5EF4-FFF2-40B4-BE49-F238E27FC236}">
                  <a16:creationId xmlns:a16="http://schemas.microsoft.com/office/drawing/2014/main" id="{53F5748A-C80C-02F8-910F-037CE0D25366}"/>
                </a:ext>
              </a:extLst>
            </p:cNvPr>
            <p:cNvSpPr/>
            <p:nvPr/>
          </p:nvSpPr>
          <p:spPr>
            <a:xfrm>
              <a:off x="8183565"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tangle 26">
            <a:extLst>
              <a:ext uri="{FF2B5EF4-FFF2-40B4-BE49-F238E27FC236}">
                <a16:creationId xmlns:a16="http://schemas.microsoft.com/office/drawing/2014/main" id="{19845CAA-50E6-CFDD-2E0D-DF8F0E3F26A2}"/>
              </a:ext>
            </a:extLst>
          </p:cNvPr>
          <p:cNvSpPr/>
          <p:nvPr/>
        </p:nvSpPr>
        <p:spPr>
          <a:xfrm>
            <a:off x="606848" y="2076603"/>
            <a:ext cx="24030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F5A0D80-8B32-C7DE-F967-0BCB1B4A92D2}"/>
              </a:ext>
            </a:extLst>
          </p:cNvPr>
          <p:cNvSpPr/>
          <p:nvPr/>
        </p:nvSpPr>
        <p:spPr>
          <a:xfrm>
            <a:off x="3030691" y="2076603"/>
            <a:ext cx="23772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1D9F93A-9CE8-5C70-6AB7-350FBAE9A111}"/>
              </a:ext>
            </a:extLst>
          </p:cNvPr>
          <p:cNvSpPr/>
          <p:nvPr/>
        </p:nvSpPr>
        <p:spPr>
          <a:xfrm>
            <a:off x="5428734" y="2076603"/>
            <a:ext cx="2822528"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28A874B-BFA6-3212-D5D9-0861F144CC84}"/>
              </a:ext>
            </a:extLst>
          </p:cNvPr>
          <p:cNvSpPr/>
          <p:nvPr/>
        </p:nvSpPr>
        <p:spPr>
          <a:xfrm>
            <a:off x="8272055" y="2076603"/>
            <a:ext cx="3307169"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5FAE9719-E9D8-2CA2-21A8-CE024344AD30}"/>
              </a:ext>
            </a:extLst>
          </p:cNvPr>
          <p:cNvGrpSpPr/>
          <p:nvPr/>
        </p:nvGrpSpPr>
        <p:grpSpPr>
          <a:xfrm>
            <a:off x="1426472" y="1223148"/>
            <a:ext cx="763802" cy="763802"/>
            <a:chOff x="-947911" y="1298343"/>
            <a:chExt cx="1024128" cy="1023806"/>
          </a:xfrm>
        </p:grpSpPr>
        <p:grpSp>
          <p:nvGrpSpPr>
            <p:cNvPr id="47" name="Group 46">
              <a:extLst>
                <a:ext uri="{FF2B5EF4-FFF2-40B4-BE49-F238E27FC236}">
                  <a16:creationId xmlns:a16="http://schemas.microsoft.com/office/drawing/2014/main" id="{DFA3D44E-46B8-987B-7F79-1A3D69C8416F}"/>
                </a:ext>
              </a:extLst>
            </p:cNvPr>
            <p:cNvGrpSpPr/>
            <p:nvPr/>
          </p:nvGrpSpPr>
          <p:grpSpPr>
            <a:xfrm>
              <a:off x="-947911" y="1298343"/>
              <a:ext cx="1024128" cy="1023806"/>
              <a:chOff x="1181289" y="2865536"/>
              <a:chExt cx="1024128" cy="1023806"/>
            </a:xfrm>
          </p:grpSpPr>
          <p:pic>
            <p:nvPicPr>
              <p:cNvPr id="60" name="Picture 59" descr="A picture containing shape&#10;&#10;Description automatically generated">
                <a:extLst>
                  <a:ext uri="{FF2B5EF4-FFF2-40B4-BE49-F238E27FC236}">
                    <a16:creationId xmlns:a16="http://schemas.microsoft.com/office/drawing/2014/main" id="{761703B4-2FE3-1BD3-C0CA-00140052E35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1" name="Oval 60">
                <a:extLst>
                  <a:ext uri="{FF2B5EF4-FFF2-40B4-BE49-F238E27FC236}">
                    <a16:creationId xmlns:a16="http://schemas.microsoft.com/office/drawing/2014/main" id="{14D159B3-86EF-BAB5-1D5C-3F0AAE87957C}"/>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C45AC0EC-A7EC-AB0C-510C-D3A7FFE7EAC5}"/>
                </a:ext>
              </a:extLst>
            </p:cNvPr>
            <p:cNvGrpSpPr/>
            <p:nvPr/>
          </p:nvGrpSpPr>
          <p:grpSpPr>
            <a:xfrm>
              <a:off x="-704748" y="1527976"/>
              <a:ext cx="537802" cy="564540"/>
              <a:chOff x="-10995565" y="-12565563"/>
              <a:chExt cx="3448232" cy="3619675"/>
            </a:xfrm>
            <a:solidFill>
              <a:schemeClr val="accent5"/>
            </a:solidFill>
          </p:grpSpPr>
          <p:sp>
            <p:nvSpPr>
              <p:cNvPr id="41" name="Freeform: Shape 40">
                <a:extLst>
                  <a:ext uri="{FF2B5EF4-FFF2-40B4-BE49-F238E27FC236}">
                    <a16:creationId xmlns:a16="http://schemas.microsoft.com/office/drawing/2014/main" id="{2F770E5B-FFFC-EABA-A236-57C0AC510230}"/>
                  </a:ext>
                </a:extLst>
              </p:cNvPr>
              <p:cNvSpPr/>
              <p:nvPr/>
            </p:nvSpPr>
            <p:spPr>
              <a:xfrm>
                <a:off x="-10995565" y="-12565563"/>
                <a:ext cx="3448232" cy="3619675"/>
              </a:xfrm>
              <a:custGeom>
                <a:avLst/>
                <a:gdLst>
                  <a:gd name="connsiteX0" fmla="*/ 2674605 w 3448232"/>
                  <a:gd name="connsiteY0" fmla="*/ 1725960 h 3619675"/>
                  <a:gd name="connsiteX1" fmla="*/ 2674605 w 3448232"/>
                  <a:gd name="connsiteY1" fmla="*/ 182910 h 3619675"/>
                  <a:gd name="connsiteX2" fmla="*/ 2491694 w 3448232"/>
                  <a:gd name="connsiteY2" fmla="*/ 0 h 3619675"/>
                  <a:gd name="connsiteX3" fmla="*/ 182910 w 3448232"/>
                  <a:gd name="connsiteY3" fmla="*/ 0 h 3619675"/>
                  <a:gd name="connsiteX4" fmla="*/ 0 w 3448232"/>
                  <a:gd name="connsiteY4" fmla="*/ 182910 h 3619675"/>
                  <a:gd name="connsiteX5" fmla="*/ 0 w 3448232"/>
                  <a:gd name="connsiteY5" fmla="*/ 2663297 h 3619675"/>
                  <a:gd name="connsiteX6" fmla="*/ 182910 w 3448232"/>
                  <a:gd name="connsiteY6" fmla="*/ 2846207 h 3619675"/>
                  <a:gd name="connsiteX7" fmla="*/ 1554511 w 3448232"/>
                  <a:gd name="connsiteY7" fmla="*/ 2846207 h 3619675"/>
                  <a:gd name="connsiteX8" fmla="*/ 2491847 w 3448232"/>
                  <a:gd name="connsiteY8" fmla="*/ 3619675 h 3619675"/>
                  <a:gd name="connsiteX9" fmla="*/ 3448233 w 3448232"/>
                  <a:gd name="connsiteY9" fmla="*/ 2663289 h 3619675"/>
                  <a:gd name="connsiteX10" fmla="*/ 2674613 w 3448232"/>
                  <a:gd name="connsiteY10" fmla="*/ 1725953 h 3619675"/>
                  <a:gd name="connsiteX11" fmla="*/ 567789 w 3448232"/>
                  <a:gd name="connsiteY11" fmla="*/ 563911 h 3619675"/>
                  <a:gd name="connsiteX12" fmla="*/ 575379 w 3448232"/>
                  <a:gd name="connsiteY12" fmla="*/ 556321 h 3619675"/>
                  <a:gd name="connsiteX13" fmla="*/ 2103265 w 3448232"/>
                  <a:gd name="connsiteY13" fmla="*/ 556321 h 3619675"/>
                  <a:gd name="connsiteX14" fmla="*/ 2110854 w 3448232"/>
                  <a:gd name="connsiteY14" fmla="*/ 563911 h 3619675"/>
                  <a:gd name="connsiteX15" fmla="*/ 2110854 w 3448232"/>
                  <a:gd name="connsiteY15" fmla="*/ 807690 h 3619675"/>
                  <a:gd name="connsiteX16" fmla="*/ 2103265 w 3448232"/>
                  <a:gd name="connsiteY16" fmla="*/ 815279 h 3619675"/>
                  <a:gd name="connsiteX17" fmla="*/ 575379 w 3448232"/>
                  <a:gd name="connsiteY17" fmla="*/ 815279 h 3619675"/>
                  <a:gd name="connsiteX18" fmla="*/ 567789 w 3448232"/>
                  <a:gd name="connsiteY18" fmla="*/ 807690 h 3619675"/>
                  <a:gd name="connsiteX19" fmla="*/ 567789 w 3448232"/>
                  <a:gd name="connsiteY19" fmla="*/ 1299279 h 3619675"/>
                  <a:gd name="connsiteX20" fmla="*/ 575379 w 3448232"/>
                  <a:gd name="connsiteY20" fmla="*/ 1291689 h 3619675"/>
                  <a:gd name="connsiteX21" fmla="*/ 2103265 w 3448232"/>
                  <a:gd name="connsiteY21" fmla="*/ 1291689 h 3619675"/>
                  <a:gd name="connsiteX22" fmla="*/ 2110854 w 3448232"/>
                  <a:gd name="connsiteY22" fmla="*/ 1299279 h 3619675"/>
                  <a:gd name="connsiteX23" fmla="*/ 2110854 w 3448232"/>
                  <a:gd name="connsiteY23" fmla="*/ 1543058 h 3619675"/>
                  <a:gd name="connsiteX24" fmla="*/ 2103265 w 3448232"/>
                  <a:gd name="connsiteY24" fmla="*/ 1550647 h 3619675"/>
                  <a:gd name="connsiteX25" fmla="*/ 575379 w 3448232"/>
                  <a:gd name="connsiteY25" fmla="*/ 1550647 h 3619675"/>
                  <a:gd name="connsiteX26" fmla="*/ 567789 w 3448232"/>
                  <a:gd name="connsiteY26" fmla="*/ 1543058 h 3619675"/>
                  <a:gd name="connsiteX27" fmla="*/ 567789 w 3448232"/>
                  <a:gd name="connsiteY27" fmla="*/ 2282144 h 3619675"/>
                  <a:gd name="connsiteX28" fmla="*/ 567789 w 3448232"/>
                  <a:gd name="connsiteY28" fmla="*/ 2038365 h 3619675"/>
                  <a:gd name="connsiteX29" fmla="*/ 575379 w 3448232"/>
                  <a:gd name="connsiteY29" fmla="*/ 2030776 h 3619675"/>
                  <a:gd name="connsiteX30" fmla="*/ 1783111 w 3448232"/>
                  <a:gd name="connsiteY30" fmla="*/ 2030776 h 3619675"/>
                  <a:gd name="connsiteX31" fmla="*/ 1615531 w 3448232"/>
                  <a:gd name="connsiteY31" fmla="*/ 2289886 h 3619675"/>
                  <a:gd name="connsiteX32" fmla="*/ 575363 w 3448232"/>
                  <a:gd name="connsiteY32" fmla="*/ 2289886 h 3619675"/>
                  <a:gd name="connsiteX33" fmla="*/ 567774 w 3448232"/>
                  <a:gd name="connsiteY33" fmla="*/ 2282148 h 3619675"/>
                  <a:gd name="connsiteX34" fmla="*/ 2491839 w 3448232"/>
                  <a:gd name="connsiteY34" fmla="*/ 3352831 h 3619675"/>
                  <a:gd name="connsiteX35" fmla="*/ 1802153 w 3448232"/>
                  <a:gd name="connsiteY35" fmla="*/ 2663144 h 3619675"/>
                  <a:gd name="connsiteX36" fmla="*/ 2491839 w 3448232"/>
                  <a:gd name="connsiteY36" fmla="*/ 1973458 h 3619675"/>
                  <a:gd name="connsiteX37" fmla="*/ 3181525 w 3448232"/>
                  <a:gd name="connsiteY37" fmla="*/ 2663144 h 3619675"/>
                  <a:gd name="connsiteX38" fmla="*/ 2491839 w 3448232"/>
                  <a:gd name="connsiteY38" fmla="*/ 3352831 h 361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448232" h="3619675">
                    <a:moveTo>
                      <a:pt x="2674605" y="1725960"/>
                    </a:moveTo>
                    <a:lnTo>
                      <a:pt x="2674605" y="182910"/>
                    </a:lnTo>
                    <a:cubicBezTo>
                      <a:pt x="2674605" y="83790"/>
                      <a:pt x="2594534" y="0"/>
                      <a:pt x="2491694" y="0"/>
                    </a:cubicBezTo>
                    <a:lnTo>
                      <a:pt x="182910" y="0"/>
                    </a:lnTo>
                    <a:cubicBezTo>
                      <a:pt x="83790" y="0"/>
                      <a:pt x="0" y="80071"/>
                      <a:pt x="0" y="182910"/>
                    </a:cubicBezTo>
                    <a:lnTo>
                      <a:pt x="0" y="2663297"/>
                    </a:lnTo>
                    <a:cubicBezTo>
                      <a:pt x="0" y="2762418"/>
                      <a:pt x="80071" y="2846207"/>
                      <a:pt x="182910" y="2846207"/>
                    </a:cubicBezTo>
                    <a:lnTo>
                      <a:pt x="1554511" y="2846207"/>
                    </a:lnTo>
                    <a:cubicBezTo>
                      <a:pt x="1638300" y="3288244"/>
                      <a:pt x="2026874" y="3619675"/>
                      <a:pt x="2491847" y="3619675"/>
                    </a:cubicBezTo>
                    <a:cubicBezTo>
                      <a:pt x="3017665" y="3619675"/>
                      <a:pt x="3448233" y="3189107"/>
                      <a:pt x="3448233" y="2663289"/>
                    </a:cubicBezTo>
                    <a:cubicBezTo>
                      <a:pt x="3448085" y="2198355"/>
                      <a:pt x="3112774" y="1809773"/>
                      <a:pt x="2674613" y="1725953"/>
                    </a:cubicBezTo>
                    <a:close/>
                    <a:moveTo>
                      <a:pt x="567789" y="563911"/>
                    </a:moveTo>
                    <a:cubicBezTo>
                      <a:pt x="567789" y="560040"/>
                      <a:pt x="571660" y="556321"/>
                      <a:pt x="575379" y="556321"/>
                    </a:cubicBezTo>
                    <a:lnTo>
                      <a:pt x="2103265" y="556321"/>
                    </a:lnTo>
                    <a:cubicBezTo>
                      <a:pt x="2107136" y="556321"/>
                      <a:pt x="2110854" y="560188"/>
                      <a:pt x="2110854" y="563911"/>
                    </a:cubicBezTo>
                    <a:lnTo>
                      <a:pt x="2110854" y="807690"/>
                    </a:lnTo>
                    <a:cubicBezTo>
                      <a:pt x="2110854" y="811561"/>
                      <a:pt x="2106987" y="815279"/>
                      <a:pt x="2103265" y="815279"/>
                    </a:cubicBezTo>
                    <a:lnTo>
                      <a:pt x="575379" y="815279"/>
                    </a:lnTo>
                    <a:cubicBezTo>
                      <a:pt x="571511" y="815279"/>
                      <a:pt x="567789" y="811412"/>
                      <a:pt x="567789" y="807690"/>
                    </a:cubicBezTo>
                    <a:close/>
                    <a:moveTo>
                      <a:pt x="567789" y="1299279"/>
                    </a:moveTo>
                    <a:cubicBezTo>
                      <a:pt x="567789" y="1295408"/>
                      <a:pt x="571660" y="1291689"/>
                      <a:pt x="575379" y="1291689"/>
                    </a:cubicBezTo>
                    <a:lnTo>
                      <a:pt x="2103265" y="1291689"/>
                    </a:lnTo>
                    <a:cubicBezTo>
                      <a:pt x="2107136" y="1291689"/>
                      <a:pt x="2110854" y="1295556"/>
                      <a:pt x="2110854" y="1299279"/>
                    </a:cubicBezTo>
                    <a:lnTo>
                      <a:pt x="2110854" y="1543058"/>
                    </a:lnTo>
                    <a:cubicBezTo>
                      <a:pt x="2110854" y="1546929"/>
                      <a:pt x="2106987" y="1550647"/>
                      <a:pt x="2103265" y="1550647"/>
                    </a:cubicBezTo>
                    <a:lnTo>
                      <a:pt x="575379" y="1550647"/>
                    </a:lnTo>
                    <a:cubicBezTo>
                      <a:pt x="571511" y="1550647"/>
                      <a:pt x="567789" y="1546780"/>
                      <a:pt x="567789" y="1543058"/>
                    </a:cubicBezTo>
                    <a:close/>
                    <a:moveTo>
                      <a:pt x="567789" y="2282144"/>
                    </a:moveTo>
                    <a:lnTo>
                      <a:pt x="567789" y="2038365"/>
                    </a:lnTo>
                    <a:cubicBezTo>
                      <a:pt x="567789" y="2034494"/>
                      <a:pt x="571660" y="2030776"/>
                      <a:pt x="575379" y="2030776"/>
                    </a:cubicBezTo>
                    <a:lnTo>
                      <a:pt x="1783111" y="2030776"/>
                    </a:lnTo>
                    <a:cubicBezTo>
                      <a:pt x="1714500" y="2106976"/>
                      <a:pt x="1657350" y="2194636"/>
                      <a:pt x="1615531" y="2289886"/>
                    </a:cubicBezTo>
                    <a:lnTo>
                      <a:pt x="575363" y="2289886"/>
                    </a:lnTo>
                    <a:cubicBezTo>
                      <a:pt x="571496" y="2289886"/>
                      <a:pt x="567774" y="2286015"/>
                      <a:pt x="567774" y="2282148"/>
                    </a:cubicBezTo>
                    <a:close/>
                    <a:moveTo>
                      <a:pt x="2491839" y="3352831"/>
                    </a:moveTo>
                    <a:cubicBezTo>
                      <a:pt x="2110839" y="3352831"/>
                      <a:pt x="1802153" y="3044160"/>
                      <a:pt x="1802153" y="2663144"/>
                    </a:cubicBezTo>
                    <a:cubicBezTo>
                      <a:pt x="1802153" y="2282129"/>
                      <a:pt x="2110824" y="1973458"/>
                      <a:pt x="2491839" y="1973458"/>
                    </a:cubicBezTo>
                    <a:cubicBezTo>
                      <a:pt x="2872855" y="1973458"/>
                      <a:pt x="3181525" y="2282129"/>
                      <a:pt x="3181525" y="2663144"/>
                    </a:cubicBezTo>
                    <a:cubicBezTo>
                      <a:pt x="3181377" y="3044144"/>
                      <a:pt x="2872855" y="3352831"/>
                      <a:pt x="2491839" y="3352831"/>
                    </a:cubicBezTo>
                    <a:close/>
                  </a:path>
                </a:pathLst>
              </a:custGeom>
              <a:grpFill/>
              <a:ln w="381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A885BB8-4EA9-FCD5-AAE5-D33B6758139E}"/>
                  </a:ext>
                </a:extLst>
              </p:cNvPr>
              <p:cNvSpPr/>
              <p:nvPr/>
            </p:nvSpPr>
            <p:spPr>
              <a:xfrm>
                <a:off x="-8943880" y="-10230846"/>
                <a:ext cx="858101" cy="678894"/>
              </a:xfrm>
              <a:custGeom>
                <a:avLst/>
                <a:gdLst>
                  <a:gd name="connsiteX0" fmla="*/ 622920 w 858101"/>
                  <a:gd name="connsiteY0" fmla="*/ 46525 h 678894"/>
                  <a:gd name="connsiteX1" fmla="*/ 352349 w 858101"/>
                  <a:gd name="connsiteY1" fmla="*/ 355196 h 678894"/>
                  <a:gd name="connsiteX2" fmla="*/ 226588 w 858101"/>
                  <a:gd name="connsiteY2" fmla="*/ 229436 h 678894"/>
                  <a:gd name="connsiteX3" fmla="*/ 39959 w 858101"/>
                  <a:gd name="connsiteY3" fmla="*/ 229436 h 678894"/>
                  <a:gd name="connsiteX4" fmla="*/ 39959 w 858101"/>
                  <a:gd name="connsiteY4" fmla="*/ 416065 h 678894"/>
                  <a:gd name="connsiteX5" fmla="*/ 264688 w 858101"/>
                  <a:gd name="connsiteY5" fmla="*/ 640794 h 678894"/>
                  <a:gd name="connsiteX6" fmla="*/ 359938 w 858101"/>
                  <a:gd name="connsiteY6" fmla="*/ 678894 h 678894"/>
                  <a:gd name="connsiteX7" fmla="*/ 363809 w 858101"/>
                  <a:gd name="connsiteY7" fmla="*/ 678894 h 678894"/>
                  <a:gd name="connsiteX8" fmla="*/ 459059 w 858101"/>
                  <a:gd name="connsiteY8" fmla="*/ 633204 h 678894"/>
                  <a:gd name="connsiteX9" fmla="*/ 824880 w 858101"/>
                  <a:gd name="connsiteY9" fmla="*/ 217991 h 678894"/>
                  <a:gd name="connsiteX10" fmla="*/ 813420 w 858101"/>
                  <a:gd name="connsiteY10" fmla="*/ 31362 h 678894"/>
                  <a:gd name="connsiteX11" fmla="*/ 622920 w 858101"/>
                  <a:gd name="connsiteY11" fmla="*/ 46541 h 67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8101" h="678894">
                    <a:moveTo>
                      <a:pt x="622920" y="46525"/>
                    </a:moveTo>
                    <a:lnTo>
                      <a:pt x="352349" y="355196"/>
                    </a:lnTo>
                    <a:lnTo>
                      <a:pt x="226588" y="229436"/>
                    </a:lnTo>
                    <a:cubicBezTo>
                      <a:pt x="173309" y="176157"/>
                      <a:pt x="89367" y="176157"/>
                      <a:pt x="39959" y="229436"/>
                    </a:cubicBezTo>
                    <a:cubicBezTo>
                      <a:pt x="-13320" y="282715"/>
                      <a:pt x="-13320" y="366657"/>
                      <a:pt x="39959" y="416065"/>
                    </a:cubicBezTo>
                    <a:lnTo>
                      <a:pt x="264688" y="640794"/>
                    </a:lnTo>
                    <a:cubicBezTo>
                      <a:pt x="291328" y="667433"/>
                      <a:pt x="321838" y="678894"/>
                      <a:pt x="359938" y="678894"/>
                    </a:cubicBezTo>
                    <a:lnTo>
                      <a:pt x="363809" y="678894"/>
                    </a:lnTo>
                    <a:cubicBezTo>
                      <a:pt x="401909" y="678894"/>
                      <a:pt x="436138" y="659844"/>
                      <a:pt x="459059" y="633204"/>
                    </a:cubicBezTo>
                    <a:lnTo>
                      <a:pt x="824880" y="217991"/>
                    </a:lnTo>
                    <a:cubicBezTo>
                      <a:pt x="874441" y="160841"/>
                      <a:pt x="866851" y="77051"/>
                      <a:pt x="813420" y="31362"/>
                    </a:cubicBezTo>
                    <a:cubicBezTo>
                      <a:pt x="756270" y="-14477"/>
                      <a:pt x="672480" y="-10609"/>
                      <a:pt x="622920" y="46541"/>
                    </a:cubicBezTo>
                    <a:close/>
                  </a:path>
                </a:pathLst>
              </a:custGeom>
              <a:grpFill/>
              <a:ln w="38100"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3925001D-4BEF-9C2F-C8E1-9740432F56F0}"/>
              </a:ext>
            </a:extLst>
          </p:cNvPr>
          <p:cNvGrpSpPr/>
          <p:nvPr/>
        </p:nvGrpSpPr>
        <p:grpSpPr>
          <a:xfrm>
            <a:off x="3837292" y="1223148"/>
            <a:ext cx="763802" cy="763802"/>
            <a:chOff x="3837292" y="1248548"/>
            <a:chExt cx="763802" cy="763802"/>
          </a:xfrm>
        </p:grpSpPr>
        <p:grpSp>
          <p:nvGrpSpPr>
            <p:cNvPr id="63" name="Group 62">
              <a:extLst>
                <a:ext uri="{FF2B5EF4-FFF2-40B4-BE49-F238E27FC236}">
                  <a16:creationId xmlns:a16="http://schemas.microsoft.com/office/drawing/2014/main" id="{6A23F2B9-3F80-16C2-4D99-CDD1B9606418}"/>
                </a:ext>
              </a:extLst>
            </p:cNvPr>
            <p:cNvGrpSpPr/>
            <p:nvPr/>
          </p:nvGrpSpPr>
          <p:grpSpPr>
            <a:xfrm>
              <a:off x="3837292" y="1248548"/>
              <a:ext cx="763802" cy="763802"/>
              <a:chOff x="1181289" y="2865536"/>
              <a:chExt cx="1024128" cy="1023806"/>
            </a:xfrm>
          </p:grpSpPr>
          <p:pic>
            <p:nvPicPr>
              <p:cNvPr id="67" name="Picture 66" descr="A picture containing shape&#10;&#10;Description automatically generated">
                <a:extLst>
                  <a:ext uri="{FF2B5EF4-FFF2-40B4-BE49-F238E27FC236}">
                    <a16:creationId xmlns:a16="http://schemas.microsoft.com/office/drawing/2014/main" id="{CC7B2B3F-520A-4EC3-D788-A93D5352CA6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8" name="Oval 67">
                <a:extLst>
                  <a:ext uri="{FF2B5EF4-FFF2-40B4-BE49-F238E27FC236}">
                    <a16:creationId xmlns:a16="http://schemas.microsoft.com/office/drawing/2014/main" id="{2291F7B5-FC20-0358-C2AA-6A0509F54012}"/>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id="{C04270F6-ACF4-C701-B8A8-737C78FEA28B}"/>
                </a:ext>
              </a:extLst>
            </p:cNvPr>
            <p:cNvGrpSpPr/>
            <p:nvPr/>
          </p:nvGrpSpPr>
          <p:grpSpPr>
            <a:xfrm>
              <a:off x="4023548" y="1444320"/>
              <a:ext cx="391290" cy="391284"/>
              <a:chOff x="-3126231" y="-16411270"/>
              <a:chExt cx="3690998" cy="3690937"/>
            </a:xfrm>
            <a:solidFill>
              <a:schemeClr val="accent5"/>
            </a:solidFill>
          </p:grpSpPr>
          <p:sp>
            <p:nvSpPr>
              <p:cNvPr id="44" name="Freeform: Shape 43">
                <a:extLst>
                  <a:ext uri="{FF2B5EF4-FFF2-40B4-BE49-F238E27FC236}">
                    <a16:creationId xmlns:a16="http://schemas.microsoft.com/office/drawing/2014/main" id="{AC188DC0-6C8C-F765-8A76-19306575DA60}"/>
                  </a:ext>
                </a:extLst>
              </p:cNvPr>
              <p:cNvSpPr/>
              <p:nvPr/>
            </p:nvSpPr>
            <p:spPr>
              <a:xfrm>
                <a:off x="-2114139" y="-13196584"/>
                <a:ext cx="1666875" cy="476250"/>
              </a:xfrm>
              <a:custGeom>
                <a:avLst/>
                <a:gdLst>
                  <a:gd name="connsiteX0" fmla="*/ 1666875 w 1666875"/>
                  <a:gd name="connsiteY0" fmla="*/ 0 h 476250"/>
                  <a:gd name="connsiteX1" fmla="*/ 0 w 1666875"/>
                  <a:gd name="connsiteY1" fmla="*/ 0 h 476250"/>
                  <a:gd name="connsiteX2" fmla="*/ 0 w 1666875"/>
                  <a:gd name="connsiteY2" fmla="*/ 357188 h 476250"/>
                  <a:gd name="connsiteX3" fmla="*/ 119063 w 1666875"/>
                  <a:gd name="connsiteY3" fmla="*/ 476250 h 476250"/>
                  <a:gd name="connsiteX4" fmla="*/ 1547813 w 1666875"/>
                  <a:gd name="connsiteY4" fmla="*/ 476250 h 476250"/>
                  <a:gd name="connsiteX5" fmla="*/ 1666875 w 1666875"/>
                  <a:gd name="connsiteY5" fmla="*/ 35718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875" h="476250">
                    <a:moveTo>
                      <a:pt x="1666875" y="0"/>
                    </a:moveTo>
                    <a:lnTo>
                      <a:pt x="0" y="0"/>
                    </a:lnTo>
                    <a:lnTo>
                      <a:pt x="0" y="357188"/>
                    </a:lnTo>
                    <a:cubicBezTo>
                      <a:pt x="0" y="422971"/>
                      <a:pt x="53279" y="476250"/>
                      <a:pt x="119063" y="476250"/>
                    </a:cubicBezTo>
                    <a:lnTo>
                      <a:pt x="1547813" y="476250"/>
                    </a:lnTo>
                    <a:cubicBezTo>
                      <a:pt x="1613596" y="476250"/>
                      <a:pt x="1666875" y="422971"/>
                      <a:pt x="1666875" y="357188"/>
                    </a:cubicBezTo>
                    <a:close/>
                  </a:path>
                </a:pathLst>
              </a:custGeom>
              <a:grpFill/>
              <a:ln w="381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74202F19-EBFC-3214-6DB6-B70B47195351}"/>
                  </a:ext>
                </a:extLst>
              </p:cNvPr>
              <p:cNvSpPr/>
              <p:nvPr/>
            </p:nvSpPr>
            <p:spPr>
              <a:xfrm>
                <a:off x="-2114139" y="-13791933"/>
                <a:ext cx="1666875" cy="476250"/>
              </a:xfrm>
              <a:custGeom>
                <a:avLst/>
                <a:gdLst>
                  <a:gd name="connsiteX0" fmla="*/ 0 w 1666875"/>
                  <a:gd name="connsiteY0" fmla="*/ 0 h 476250"/>
                  <a:gd name="connsiteX1" fmla="*/ 1666875 w 1666875"/>
                  <a:gd name="connsiteY1" fmla="*/ 0 h 476250"/>
                  <a:gd name="connsiteX2" fmla="*/ 1666875 w 1666875"/>
                  <a:gd name="connsiteY2" fmla="*/ 476250 h 476250"/>
                  <a:gd name="connsiteX3" fmla="*/ 0 w 166687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666875" h="476250">
                    <a:moveTo>
                      <a:pt x="0" y="0"/>
                    </a:moveTo>
                    <a:lnTo>
                      <a:pt x="1666875" y="0"/>
                    </a:lnTo>
                    <a:lnTo>
                      <a:pt x="1666875" y="476250"/>
                    </a:lnTo>
                    <a:lnTo>
                      <a:pt x="0" y="476250"/>
                    </a:lnTo>
                    <a:close/>
                  </a:path>
                </a:pathLst>
              </a:custGeom>
              <a:grpFill/>
              <a:ln w="381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A718D47C-5842-5240-5CB3-CC161755F832}"/>
                  </a:ext>
                </a:extLst>
              </p:cNvPr>
              <p:cNvSpPr/>
              <p:nvPr/>
            </p:nvSpPr>
            <p:spPr>
              <a:xfrm>
                <a:off x="-3126231" y="-16411270"/>
                <a:ext cx="3690998" cy="2500312"/>
              </a:xfrm>
              <a:custGeom>
                <a:avLst/>
                <a:gdLst>
                  <a:gd name="connsiteX0" fmla="*/ 1726467 w 3690998"/>
                  <a:gd name="connsiteY0" fmla="*/ 2024063 h 2500312"/>
                  <a:gd name="connsiteX1" fmla="*/ 1131155 w 3690998"/>
                  <a:gd name="connsiteY1" fmla="*/ 2024063 h 2500312"/>
                  <a:gd name="connsiteX2" fmla="*/ 1012092 w 3690998"/>
                  <a:gd name="connsiteY2" fmla="*/ 2143125 h 2500312"/>
                  <a:gd name="connsiteX3" fmla="*/ 1012092 w 3690998"/>
                  <a:gd name="connsiteY3" fmla="*/ 2500313 h 2500312"/>
                  <a:gd name="connsiteX4" fmla="*/ 2678967 w 3690998"/>
                  <a:gd name="connsiteY4" fmla="*/ 2500313 h 2500312"/>
                  <a:gd name="connsiteX5" fmla="*/ 2678967 w 3690998"/>
                  <a:gd name="connsiteY5" fmla="*/ 2143125 h 2500312"/>
                  <a:gd name="connsiteX6" fmla="*/ 2559905 w 3690998"/>
                  <a:gd name="connsiteY6" fmla="*/ 2024063 h 2500312"/>
                  <a:gd name="connsiteX7" fmla="*/ 1964592 w 3690998"/>
                  <a:gd name="connsiteY7" fmla="*/ 2024063 h 2500312"/>
                  <a:gd name="connsiteX8" fmla="*/ 1964592 w 3690998"/>
                  <a:gd name="connsiteY8" fmla="*/ 1785938 h 2500312"/>
                  <a:gd name="connsiteX9" fmla="*/ 3155217 w 3690998"/>
                  <a:gd name="connsiteY9" fmla="*/ 1785938 h 2500312"/>
                  <a:gd name="connsiteX10" fmla="*/ 3274280 w 3690998"/>
                  <a:gd name="connsiteY10" fmla="*/ 1666875 h 2500312"/>
                  <a:gd name="connsiteX11" fmla="*/ 3274280 w 3690998"/>
                  <a:gd name="connsiteY11" fmla="*/ 1428750 h 2500312"/>
                  <a:gd name="connsiteX12" fmla="*/ 3571936 w 3690998"/>
                  <a:gd name="connsiteY12" fmla="*/ 1428750 h 2500312"/>
                  <a:gd name="connsiteX13" fmla="*/ 3690999 w 3690998"/>
                  <a:gd name="connsiteY13" fmla="*/ 1309688 h 2500312"/>
                  <a:gd name="connsiteX14" fmla="*/ 3690999 w 3690998"/>
                  <a:gd name="connsiteY14" fmla="*/ 119063 h 2500312"/>
                  <a:gd name="connsiteX15" fmla="*/ 3571936 w 3690998"/>
                  <a:gd name="connsiteY15" fmla="*/ 0 h 2500312"/>
                  <a:gd name="connsiteX16" fmla="*/ 2678948 w 3690998"/>
                  <a:gd name="connsiteY16" fmla="*/ 0 h 2500312"/>
                  <a:gd name="connsiteX17" fmla="*/ 2559886 w 3690998"/>
                  <a:gd name="connsiteY17" fmla="*/ 119063 h 2500312"/>
                  <a:gd name="connsiteX18" fmla="*/ 2559886 w 3690998"/>
                  <a:gd name="connsiteY18" fmla="*/ 1309688 h 2500312"/>
                  <a:gd name="connsiteX19" fmla="*/ 2678948 w 3690998"/>
                  <a:gd name="connsiteY19" fmla="*/ 1428750 h 2500312"/>
                  <a:gd name="connsiteX20" fmla="*/ 3036136 w 3690998"/>
                  <a:gd name="connsiteY20" fmla="*/ 1428750 h 2500312"/>
                  <a:gd name="connsiteX21" fmla="*/ 3036136 w 3690998"/>
                  <a:gd name="connsiteY21" fmla="*/ 1547813 h 2500312"/>
                  <a:gd name="connsiteX22" fmla="*/ 1964573 w 3690998"/>
                  <a:gd name="connsiteY22" fmla="*/ 1547813 h 2500312"/>
                  <a:gd name="connsiteX23" fmla="*/ 1964573 w 3690998"/>
                  <a:gd name="connsiteY23" fmla="*/ 1428750 h 2500312"/>
                  <a:gd name="connsiteX24" fmla="*/ 2291997 w 3690998"/>
                  <a:gd name="connsiteY24" fmla="*/ 1428750 h 2500312"/>
                  <a:gd name="connsiteX25" fmla="*/ 2411060 w 3690998"/>
                  <a:gd name="connsiteY25" fmla="*/ 1309688 h 2500312"/>
                  <a:gd name="connsiteX26" fmla="*/ 2411060 w 3690998"/>
                  <a:gd name="connsiteY26" fmla="*/ 119063 h 2500312"/>
                  <a:gd name="connsiteX27" fmla="*/ 2291997 w 3690998"/>
                  <a:gd name="connsiteY27" fmla="*/ 0 h 2500312"/>
                  <a:gd name="connsiteX28" fmla="*/ 1399009 w 3690998"/>
                  <a:gd name="connsiteY28" fmla="*/ 0 h 2500312"/>
                  <a:gd name="connsiteX29" fmla="*/ 1279947 w 3690998"/>
                  <a:gd name="connsiteY29" fmla="*/ 119063 h 2500312"/>
                  <a:gd name="connsiteX30" fmla="*/ 1279947 w 3690998"/>
                  <a:gd name="connsiteY30" fmla="*/ 1309688 h 2500312"/>
                  <a:gd name="connsiteX31" fmla="*/ 1399009 w 3690998"/>
                  <a:gd name="connsiteY31" fmla="*/ 1428750 h 2500312"/>
                  <a:gd name="connsiteX32" fmla="*/ 1726433 w 3690998"/>
                  <a:gd name="connsiteY32" fmla="*/ 1428750 h 2500312"/>
                  <a:gd name="connsiteX33" fmla="*/ 1726433 w 3690998"/>
                  <a:gd name="connsiteY33" fmla="*/ 1547813 h 2500312"/>
                  <a:gd name="connsiteX34" fmla="*/ 684627 w 3690998"/>
                  <a:gd name="connsiteY34" fmla="*/ 1547813 h 2500312"/>
                  <a:gd name="connsiteX35" fmla="*/ 684627 w 3690998"/>
                  <a:gd name="connsiteY35" fmla="*/ 1428750 h 2500312"/>
                  <a:gd name="connsiteX36" fmla="*/ 1012050 w 3690998"/>
                  <a:gd name="connsiteY36" fmla="*/ 1428750 h 2500312"/>
                  <a:gd name="connsiteX37" fmla="*/ 1131113 w 3690998"/>
                  <a:gd name="connsiteY37" fmla="*/ 1309688 h 2500312"/>
                  <a:gd name="connsiteX38" fmla="*/ 1131113 w 3690998"/>
                  <a:gd name="connsiteY38" fmla="*/ 119063 h 2500312"/>
                  <a:gd name="connsiteX39" fmla="*/ 1012050 w 3690998"/>
                  <a:gd name="connsiteY39" fmla="*/ 0 h 2500312"/>
                  <a:gd name="connsiteX40" fmla="*/ 119063 w 3690998"/>
                  <a:gd name="connsiteY40" fmla="*/ 0 h 2500312"/>
                  <a:gd name="connsiteX41" fmla="*/ 0 w 3690998"/>
                  <a:gd name="connsiteY41" fmla="*/ 119063 h 2500312"/>
                  <a:gd name="connsiteX42" fmla="*/ 0 w 3690998"/>
                  <a:gd name="connsiteY42" fmla="*/ 1309688 h 2500312"/>
                  <a:gd name="connsiteX43" fmla="*/ 119063 w 3690998"/>
                  <a:gd name="connsiteY43" fmla="*/ 1428750 h 2500312"/>
                  <a:gd name="connsiteX44" fmla="*/ 446486 w 3690998"/>
                  <a:gd name="connsiteY44" fmla="*/ 1428750 h 2500312"/>
                  <a:gd name="connsiteX45" fmla="*/ 446486 w 3690998"/>
                  <a:gd name="connsiteY45" fmla="*/ 1666875 h 2500312"/>
                  <a:gd name="connsiteX46" fmla="*/ 565549 w 3690998"/>
                  <a:gd name="connsiteY46" fmla="*/ 1785938 h 2500312"/>
                  <a:gd name="connsiteX47" fmla="*/ 1726418 w 3690998"/>
                  <a:gd name="connsiteY47" fmla="*/ 1785938 h 2500312"/>
                  <a:gd name="connsiteX48" fmla="*/ 2917092 w 3690998"/>
                  <a:gd name="connsiteY48" fmla="*/ 1190625 h 2500312"/>
                  <a:gd name="connsiteX49" fmla="*/ 3333830 w 3690998"/>
                  <a:gd name="connsiteY49" fmla="*/ 1190625 h 2500312"/>
                  <a:gd name="connsiteX50" fmla="*/ 3452893 w 3690998"/>
                  <a:gd name="connsiteY50" fmla="*/ 1071563 h 2500312"/>
                  <a:gd name="connsiteX51" fmla="*/ 3333830 w 3690998"/>
                  <a:gd name="connsiteY51" fmla="*/ 952500 h 2500312"/>
                  <a:gd name="connsiteX52" fmla="*/ 2917092 w 3690998"/>
                  <a:gd name="connsiteY52" fmla="*/ 952500 h 2500312"/>
                  <a:gd name="connsiteX53" fmla="*/ 2798030 w 3690998"/>
                  <a:gd name="connsiteY53" fmla="*/ 1071563 h 2500312"/>
                  <a:gd name="connsiteX54" fmla="*/ 2917092 w 3690998"/>
                  <a:gd name="connsiteY54" fmla="*/ 1190625 h 2500312"/>
                  <a:gd name="connsiteX55" fmla="*/ 1637161 w 3690998"/>
                  <a:gd name="connsiteY55" fmla="*/ 1190625 h 2500312"/>
                  <a:gd name="connsiteX56" fmla="*/ 2053899 w 3690998"/>
                  <a:gd name="connsiteY56" fmla="*/ 1190625 h 2500312"/>
                  <a:gd name="connsiteX57" fmla="*/ 2172961 w 3690998"/>
                  <a:gd name="connsiteY57" fmla="*/ 1071563 h 2500312"/>
                  <a:gd name="connsiteX58" fmla="*/ 2053899 w 3690998"/>
                  <a:gd name="connsiteY58" fmla="*/ 952500 h 2500312"/>
                  <a:gd name="connsiteX59" fmla="*/ 1637161 w 3690998"/>
                  <a:gd name="connsiteY59" fmla="*/ 952500 h 2500312"/>
                  <a:gd name="connsiteX60" fmla="*/ 1518098 w 3690998"/>
                  <a:gd name="connsiteY60" fmla="*/ 1071563 h 2500312"/>
                  <a:gd name="connsiteX61" fmla="*/ 1637161 w 3690998"/>
                  <a:gd name="connsiteY61" fmla="*/ 1190625 h 2500312"/>
                  <a:gd name="connsiteX62" fmla="*/ 357229 w 3690998"/>
                  <a:gd name="connsiteY62" fmla="*/ 1190625 h 2500312"/>
                  <a:gd name="connsiteX63" fmla="*/ 773967 w 3690998"/>
                  <a:gd name="connsiteY63" fmla="*/ 1190625 h 2500312"/>
                  <a:gd name="connsiteX64" fmla="*/ 893030 w 3690998"/>
                  <a:gd name="connsiteY64" fmla="*/ 1071563 h 2500312"/>
                  <a:gd name="connsiteX65" fmla="*/ 773967 w 3690998"/>
                  <a:gd name="connsiteY65" fmla="*/ 952500 h 2500312"/>
                  <a:gd name="connsiteX66" fmla="*/ 357229 w 3690998"/>
                  <a:gd name="connsiteY66" fmla="*/ 952500 h 2500312"/>
                  <a:gd name="connsiteX67" fmla="*/ 238167 w 3690998"/>
                  <a:gd name="connsiteY67" fmla="*/ 1071563 h 2500312"/>
                  <a:gd name="connsiteX68" fmla="*/ 357229 w 3690998"/>
                  <a:gd name="connsiteY68" fmla="*/ 1190625 h 2500312"/>
                  <a:gd name="connsiteX69" fmla="*/ 2917092 w 3690998"/>
                  <a:gd name="connsiteY69" fmla="*/ 833438 h 2500312"/>
                  <a:gd name="connsiteX70" fmla="*/ 3333830 w 3690998"/>
                  <a:gd name="connsiteY70" fmla="*/ 833438 h 2500312"/>
                  <a:gd name="connsiteX71" fmla="*/ 3452893 w 3690998"/>
                  <a:gd name="connsiteY71" fmla="*/ 714375 h 2500312"/>
                  <a:gd name="connsiteX72" fmla="*/ 3333830 w 3690998"/>
                  <a:gd name="connsiteY72" fmla="*/ 595313 h 2500312"/>
                  <a:gd name="connsiteX73" fmla="*/ 2917092 w 3690998"/>
                  <a:gd name="connsiteY73" fmla="*/ 595313 h 2500312"/>
                  <a:gd name="connsiteX74" fmla="*/ 2798030 w 3690998"/>
                  <a:gd name="connsiteY74" fmla="*/ 714375 h 2500312"/>
                  <a:gd name="connsiteX75" fmla="*/ 2917092 w 3690998"/>
                  <a:gd name="connsiteY75" fmla="*/ 833438 h 2500312"/>
                  <a:gd name="connsiteX76" fmla="*/ 1637161 w 3690998"/>
                  <a:gd name="connsiteY76" fmla="*/ 833438 h 2500312"/>
                  <a:gd name="connsiteX77" fmla="*/ 2053899 w 3690998"/>
                  <a:gd name="connsiteY77" fmla="*/ 833438 h 2500312"/>
                  <a:gd name="connsiteX78" fmla="*/ 2172961 w 3690998"/>
                  <a:gd name="connsiteY78" fmla="*/ 714375 h 2500312"/>
                  <a:gd name="connsiteX79" fmla="*/ 2053899 w 3690998"/>
                  <a:gd name="connsiteY79" fmla="*/ 595313 h 2500312"/>
                  <a:gd name="connsiteX80" fmla="*/ 1637161 w 3690998"/>
                  <a:gd name="connsiteY80" fmla="*/ 595313 h 2500312"/>
                  <a:gd name="connsiteX81" fmla="*/ 1518098 w 3690998"/>
                  <a:gd name="connsiteY81" fmla="*/ 714375 h 2500312"/>
                  <a:gd name="connsiteX82" fmla="*/ 1637161 w 3690998"/>
                  <a:gd name="connsiteY82" fmla="*/ 833438 h 2500312"/>
                  <a:gd name="connsiteX83" fmla="*/ 357229 w 3690998"/>
                  <a:gd name="connsiteY83" fmla="*/ 833438 h 2500312"/>
                  <a:gd name="connsiteX84" fmla="*/ 773967 w 3690998"/>
                  <a:gd name="connsiteY84" fmla="*/ 833438 h 2500312"/>
                  <a:gd name="connsiteX85" fmla="*/ 893030 w 3690998"/>
                  <a:gd name="connsiteY85" fmla="*/ 714375 h 2500312"/>
                  <a:gd name="connsiteX86" fmla="*/ 773967 w 3690998"/>
                  <a:gd name="connsiteY86" fmla="*/ 595313 h 2500312"/>
                  <a:gd name="connsiteX87" fmla="*/ 357229 w 3690998"/>
                  <a:gd name="connsiteY87" fmla="*/ 595313 h 2500312"/>
                  <a:gd name="connsiteX88" fmla="*/ 238167 w 3690998"/>
                  <a:gd name="connsiteY88" fmla="*/ 714375 h 2500312"/>
                  <a:gd name="connsiteX89" fmla="*/ 357229 w 3690998"/>
                  <a:gd name="connsiteY89" fmla="*/ 833438 h 2500312"/>
                  <a:gd name="connsiteX90" fmla="*/ 2917092 w 3690998"/>
                  <a:gd name="connsiteY90" fmla="*/ 476250 h 2500312"/>
                  <a:gd name="connsiteX91" fmla="*/ 3333830 w 3690998"/>
                  <a:gd name="connsiteY91" fmla="*/ 476250 h 2500312"/>
                  <a:gd name="connsiteX92" fmla="*/ 3452893 w 3690998"/>
                  <a:gd name="connsiteY92" fmla="*/ 357188 h 2500312"/>
                  <a:gd name="connsiteX93" fmla="*/ 3333830 w 3690998"/>
                  <a:gd name="connsiteY93" fmla="*/ 238125 h 2500312"/>
                  <a:gd name="connsiteX94" fmla="*/ 2917092 w 3690998"/>
                  <a:gd name="connsiteY94" fmla="*/ 238125 h 2500312"/>
                  <a:gd name="connsiteX95" fmla="*/ 2798030 w 3690998"/>
                  <a:gd name="connsiteY95" fmla="*/ 357188 h 2500312"/>
                  <a:gd name="connsiteX96" fmla="*/ 2917092 w 3690998"/>
                  <a:gd name="connsiteY96" fmla="*/ 476250 h 2500312"/>
                  <a:gd name="connsiteX97" fmla="*/ 1637161 w 3690998"/>
                  <a:gd name="connsiteY97" fmla="*/ 476250 h 2500312"/>
                  <a:gd name="connsiteX98" fmla="*/ 2053899 w 3690998"/>
                  <a:gd name="connsiteY98" fmla="*/ 476250 h 2500312"/>
                  <a:gd name="connsiteX99" fmla="*/ 2172961 w 3690998"/>
                  <a:gd name="connsiteY99" fmla="*/ 357188 h 2500312"/>
                  <a:gd name="connsiteX100" fmla="*/ 2053899 w 3690998"/>
                  <a:gd name="connsiteY100" fmla="*/ 238125 h 2500312"/>
                  <a:gd name="connsiteX101" fmla="*/ 1637161 w 3690998"/>
                  <a:gd name="connsiteY101" fmla="*/ 238125 h 2500312"/>
                  <a:gd name="connsiteX102" fmla="*/ 1518098 w 3690998"/>
                  <a:gd name="connsiteY102" fmla="*/ 357188 h 2500312"/>
                  <a:gd name="connsiteX103" fmla="*/ 1637161 w 3690998"/>
                  <a:gd name="connsiteY103" fmla="*/ 476250 h 2500312"/>
                  <a:gd name="connsiteX104" fmla="*/ 357229 w 3690998"/>
                  <a:gd name="connsiteY104" fmla="*/ 476250 h 2500312"/>
                  <a:gd name="connsiteX105" fmla="*/ 773967 w 3690998"/>
                  <a:gd name="connsiteY105" fmla="*/ 476250 h 2500312"/>
                  <a:gd name="connsiteX106" fmla="*/ 893030 w 3690998"/>
                  <a:gd name="connsiteY106" fmla="*/ 357188 h 2500312"/>
                  <a:gd name="connsiteX107" fmla="*/ 773967 w 3690998"/>
                  <a:gd name="connsiteY107" fmla="*/ 238125 h 2500312"/>
                  <a:gd name="connsiteX108" fmla="*/ 357229 w 3690998"/>
                  <a:gd name="connsiteY108" fmla="*/ 238125 h 2500312"/>
                  <a:gd name="connsiteX109" fmla="*/ 238167 w 3690998"/>
                  <a:gd name="connsiteY109" fmla="*/ 357188 h 2500312"/>
                  <a:gd name="connsiteX110" fmla="*/ 357229 w 3690998"/>
                  <a:gd name="connsiteY110" fmla="*/ 476250 h 250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690997" h="2500312">
                    <a:moveTo>
                      <a:pt x="1726467" y="2024063"/>
                    </a:moveTo>
                    <a:lnTo>
                      <a:pt x="1131155" y="2024063"/>
                    </a:lnTo>
                    <a:cubicBezTo>
                      <a:pt x="1065371" y="2024063"/>
                      <a:pt x="1012092" y="2077342"/>
                      <a:pt x="1012092" y="2143125"/>
                    </a:cubicBezTo>
                    <a:lnTo>
                      <a:pt x="1012092" y="2500313"/>
                    </a:lnTo>
                    <a:lnTo>
                      <a:pt x="2678967" y="2500313"/>
                    </a:lnTo>
                    <a:lnTo>
                      <a:pt x="2678967" y="2143125"/>
                    </a:lnTo>
                    <a:cubicBezTo>
                      <a:pt x="2678967" y="2077342"/>
                      <a:pt x="2625688" y="2024063"/>
                      <a:pt x="2559905" y="2024063"/>
                    </a:cubicBezTo>
                    <a:lnTo>
                      <a:pt x="1964592" y="2024063"/>
                    </a:lnTo>
                    <a:lnTo>
                      <a:pt x="1964592" y="1785938"/>
                    </a:lnTo>
                    <a:lnTo>
                      <a:pt x="3155217" y="1785938"/>
                    </a:lnTo>
                    <a:cubicBezTo>
                      <a:pt x="3221001" y="1785938"/>
                      <a:pt x="3274280" y="1732659"/>
                      <a:pt x="3274280" y="1666875"/>
                    </a:cubicBezTo>
                    <a:lnTo>
                      <a:pt x="3274280" y="1428750"/>
                    </a:lnTo>
                    <a:lnTo>
                      <a:pt x="3571936" y="1428750"/>
                    </a:lnTo>
                    <a:cubicBezTo>
                      <a:pt x="3637720" y="1428750"/>
                      <a:pt x="3690999" y="1375471"/>
                      <a:pt x="3690999" y="1309688"/>
                    </a:cubicBezTo>
                    <a:lnTo>
                      <a:pt x="3690999" y="119063"/>
                    </a:lnTo>
                    <a:cubicBezTo>
                      <a:pt x="3690999" y="53279"/>
                      <a:pt x="3637720" y="0"/>
                      <a:pt x="3571936" y="0"/>
                    </a:cubicBezTo>
                    <a:lnTo>
                      <a:pt x="2678948" y="0"/>
                    </a:lnTo>
                    <a:cubicBezTo>
                      <a:pt x="2613165" y="0"/>
                      <a:pt x="2559886" y="53279"/>
                      <a:pt x="2559886" y="119063"/>
                    </a:cubicBezTo>
                    <a:lnTo>
                      <a:pt x="2559886" y="1309688"/>
                    </a:lnTo>
                    <a:cubicBezTo>
                      <a:pt x="2559886" y="1375471"/>
                      <a:pt x="2613165" y="1428750"/>
                      <a:pt x="2678948" y="1428750"/>
                    </a:cubicBezTo>
                    <a:lnTo>
                      <a:pt x="3036136" y="1428750"/>
                    </a:lnTo>
                    <a:lnTo>
                      <a:pt x="3036136" y="1547813"/>
                    </a:lnTo>
                    <a:lnTo>
                      <a:pt x="1964573" y="1547813"/>
                    </a:lnTo>
                    <a:lnTo>
                      <a:pt x="1964573" y="1428750"/>
                    </a:lnTo>
                    <a:lnTo>
                      <a:pt x="2291997" y="1428750"/>
                    </a:lnTo>
                    <a:cubicBezTo>
                      <a:pt x="2357781" y="1428750"/>
                      <a:pt x="2411060" y="1375471"/>
                      <a:pt x="2411060" y="1309688"/>
                    </a:cubicBezTo>
                    <a:lnTo>
                      <a:pt x="2411060" y="119063"/>
                    </a:lnTo>
                    <a:cubicBezTo>
                      <a:pt x="2411060" y="53279"/>
                      <a:pt x="2357781" y="0"/>
                      <a:pt x="2291997" y="0"/>
                    </a:cubicBezTo>
                    <a:lnTo>
                      <a:pt x="1399009" y="0"/>
                    </a:lnTo>
                    <a:cubicBezTo>
                      <a:pt x="1333226" y="0"/>
                      <a:pt x="1279947" y="53279"/>
                      <a:pt x="1279947" y="119063"/>
                    </a:cubicBezTo>
                    <a:lnTo>
                      <a:pt x="1279947" y="1309688"/>
                    </a:lnTo>
                    <a:cubicBezTo>
                      <a:pt x="1279947" y="1375471"/>
                      <a:pt x="1333226" y="1428750"/>
                      <a:pt x="1399009" y="1428750"/>
                    </a:cubicBezTo>
                    <a:lnTo>
                      <a:pt x="1726433" y="1428750"/>
                    </a:lnTo>
                    <a:lnTo>
                      <a:pt x="1726433" y="1547813"/>
                    </a:lnTo>
                    <a:lnTo>
                      <a:pt x="684627" y="1547813"/>
                    </a:lnTo>
                    <a:lnTo>
                      <a:pt x="684627" y="1428750"/>
                    </a:lnTo>
                    <a:lnTo>
                      <a:pt x="1012050" y="1428750"/>
                    </a:lnTo>
                    <a:cubicBezTo>
                      <a:pt x="1077834" y="1428750"/>
                      <a:pt x="1131113" y="1375471"/>
                      <a:pt x="1131113" y="1309688"/>
                    </a:cubicBezTo>
                    <a:lnTo>
                      <a:pt x="1131113" y="119063"/>
                    </a:lnTo>
                    <a:cubicBezTo>
                      <a:pt x="1131113" y="53279"/>
                      <a:pt x="1077834" y="0"/>
                      <a:pt x="1012050" y="0"/>
                    </a:cubicBezTo>
                    <a:lnTo>
                      <a:pt x="119063" y="0"/>
                    </a:lnTo>
                    <a:cubicBezTo>
                      <a:pt x="53279" y="0"/>
                      <a:pt x="0" y="53279"/>
                      <a:pt x="0" y="119063"/>
                    </a:cubicBezTo>
                    <a:lnTo>
                      <a:pt x="0" y="1309688"/>
                    </a:lnTo>
                    <a:cubicBezTo>
                      <a:pt x="0" y="1375471"/>
                      <a:pt x="53279" y="1428750"/>
                      <a:pt x="119063" y="1428750"/>
                    </a:cubicBezTo>
                    <a:lnTo>
                      <a:pt x="446486" y="1428750"/>
                    </a:lnTo>
                    <a:lnTo>
                      <a:pt x="446486" y="1666875"/>
                    </a:lnTo>
                    <a:cubicBezTo>
                      <a:pt x="446486" y="1732659"/>
                      <a:pt x="499765" y="1785938"/>
                      <a:pt x="565549" y="1785938"/>
                    </a:cubicBezTo>
                    <a:lnTo>
                      <a:pt x="1726418" y="1785938"/>
                    </a:lnTo>
                    <a:close/>
                    <a:moveTo>
                      <a:pt x="2917092" y="1190625"/>
                    </a:moveTo>
                    <a:lnTo>
                      <a:pt x="3333830" y="1190625"/>
                    </a:lnTo>
                    <a:cubicBezTo>
                      <a:pt x="3399613" y="1190625"/>
                      <a:pt x="3452893" y="1137346"/>
                      <a:pt x="3452893" y="1071563"/>
                    </a:cubicBezTo>
                    <a:cubicBezTo>
                      <a:pt x="3452893" y="1005779"/>
                      <a:pt x="3399613" y="952500"/>
                      <a:pt x="3333830" y="952500"/>
                    </a:cubicBezTo>
                    <a:lnTo>
                      <a:pt x="2917092" y="952500"/>
                    </a:lnTo>
                    <a:cubicBezTo>
                      <a:pt x="2851309" y="952500"/>
                      <a:pt x="2798030" y="1005779"/>
                      <a:pt x="2798030" y="1071563"/>
                    </a:cubicBezTo>
                    <a:cubicBezTo>
                      <a:pt x="2798030" y="1137346"/>
                      <a:pt x="2851309" y="1190625"/>
                      <a:pt x="2917092" y="1190625"/>
                    </a:cubicBezTo>
                    <a:close/>
                    <a:moveTo>
                      <a:pt x="1637161" y="1190625"/>
                    </a:moveTo>
                    <a:lnTo>
                      <a:pt x="2053899" y="1190625"/>
                    </a:lnTo>
                    <a:cubicBezTo>
                      <a:pt x="2119682" y="1190625"/>
                      <a:pt x="2172961" y="1137346"/>
                      <a:pt x="2172961" y="1071563"/>
                    </a:cubicBezTo>
                    <a:cubicBezTo>
                      <a:pt x="2172961" y="1005779"/>
                      <a:pt x="2119682" y="952500"/>
                      <a:pt x="2053899" y="952500"/>
                    </a:cubicBezTo>
                    <a:lnTo>
                      <a:pt x="1637161" y="952500"/>
                    </a:lnTo>
                    <a:cubicBezTo>
                      <a:pt x="1571377" y="952500"/>
                      <a:pt x="1518098" y="1005779"/>
                      <a:pt x="1518098" y="1071563"/>
                    </a:cubicBezTo>
                    <a:cubicBezTo>
                      <a:pt x="1518098" y="1137346"/>
                      <a:pt x="1571377" y="1190625"/>
                      <a:pt x="1637161" y="1190625"/>
                    </a:cubicBezTo>
                    <a:close/>
                    <a:moveTo>
                      <a:pt x="357229" y="1190625"/>
                    </a:moveTo>
                    <a:lnTo>
                      <a:pt x="773967" y="1190625"/>
                    </a:lnTo>
                    <a:cubicBezTo>
                      <a:pt x="839751" y="1190625"/>
                      <a:pt x="893030" y="1137346"/>
                      <a:pt x="893030" y="1071563"/>
                    </a:cubicBezTo>
                    <a:cubicBezTo>
                      <a:pt x="893030" y="1005779"/>
                      <a:pt x="839751" y="952500"/>
                      <a:pt x="773967" y="952500"/>
                    </a:cubicBezTo>
                    <a:lnTo>
                      <a:pt x="357229" y="952500"/>
                    </a:lnTo>
                    <a:cubicBezTo>
                      <a:pt x="291446" y="952500"/>
                      <a:pt x="238167" y="1005779"/>
                      <a:pt x="238167" y="1071563"/>
                    </a:cubicBezTo>
                    <a:cubicBezTo>
                      <a:pt x="238167" y="1137346"/>
                      <a:pt x="291446" y="1190625"/>
                      <a:pt x="357229" y="1190625"/>
                    </a:cubicBezTo>
                    <a:close/>
                    <a:moveTo>
                      <a:pt x="2917092" y="833438"/>
                    </a:moveTo>
                    <a:lnTo>
                      <a:pt x="3333830" y="833438"/>
                    </a:lnTo>
                    <a:cubicBezTo>
                      <a:pt x="3399613" y="833438"/>
                      <a:pt x="3452893" y="780159"/>
                      <a:pt x="3452893" y="714375"/>
                    </a:cubicBezTo>
                    <a:cubicBezTo>
                      <a:pt x="3452893" y="648592"/>
                      <a:pt x="3399613" y="595313"/>
                      <a:pt x="3333830" y="595313"/>
                    </a:cubicBezTo>
                    <a:lnTo>
                      <a:pt x="2917092" y="595313"/>
                    </a:lnTo>
                    <a:cubicBezTo>
                      <a:pt x="2851309" y="595313"/>
                      <a:pt x="2798030" y="648592"/>
                      <a:pt x="2798030" y="714375"/>
                    </a:cubicBezTo>
                    <a:cubicBezTo>
                      <a:pt x="2798030" y="780159"/>
                      <a:pt x="2851309" y="833438"/>
                      <a:pt x="2917092" y="833438"/>
                    </a:cubicBezTo>
                    <a:close/>
                    <a:moveTo>
                      <a:pt x="1637161" y="833438"/>
                    </a:moveTo>
                    <a:lnTo>
                      <a:pt x="2053899" y="833438"/>
                    </a:lnTo>
                    <a:cubicBezTo>
                      <a:pt x="2119682" y="833438"/>
                      <a:pt x="2172961" y="780159"/>
                      <a:pt x="2172961" y="714375"/>
                    </a:cubicBezTo>
                    <a:cubicBezTo>
                      <a:pt x="2172961" y="648592"/>
                      <a:pt x="2119682" y="595313"/>
                      <a:pt x="2053899" y="595313"/>
                    </a:cubicBezTo>
                    <a:lnTo>
                      <a:pt x="1637161" y="595313"/>
                    </a:lnTo>
                    <a:cubicBezTo>
                      <a:pt x="1571377" y="595313"/>
                      <a:pt x="1518098" y="648592"/>
                      <a:pt x="1518098" y="714375"/>
                    </a:cubicBezTo>
                    <a:cubicBezTo>
                      <a:pt x="1518098" y="780159"/>
                      <a:pt x="1571377" y="833438"/>
                      <a:pt x="1637161" y="833438"/>
                    </a:cubicBezTo>
                    <a:close/>
                    <a:moveTo>
                      <a:pt x="357229" y="833438"/>
                    </a:moveTo>
                    <a:lnTo>
                      <a:pt x="773967" y="833438"/>
                    </a:lnTo>
                    <a:cubicBezTo>
                      <a:pt x="839751" y="833438"/>
                      <a:pt x="893030" y="780159"/>
                      <a:pt x="893030" y="714375"/>
                    </a:cubicBezTo>
                    <a:cubicBezTo>
                      <a:pt x="893030" y="648592"/>
                      <a:pt x="839751" y="595313"/>
                      <a:pt x="773967" y="595313"/>
                    </a:cubicBezTo>
                    <a:lnTo>
                      <a:pt x="357229" y="595313"/>
                    </a:lnTo>
                    <a:cubicBezTo>
                      <a:pt x="291446" y="595313"/>
                      <a:pt x="238167" y="648592"/>
                      <a:pt x="238167" y="714375"/>
                    </a:cubicBezTo>
                    <a:cubicBezTo>
                      <a:pt x="238167" y="780159"/>
                      <a:pt x="291446" y="833438"/>
                      <a:pt x="357229" y="833438"/>
                    </a:cubicBezTo>
                    <a:close/>
                    <a:moveTo>
                      <a:pt x="2917092" y="476250"/>
                    </a:moveTo>
                    <a:lnTo>
                      <a:pt x="3333830" y="476250"/>
                    </a:lnTo>
                    <a:cubicBezTo>
                      <a:pt x="3399613" y="476250"/>
                      <a:pt x="3452893" y="422971"/>
                      <a:pt x="3452893" y="357188"/>
                    </a:cubicBezTo>
                    <a:cubicBezTo>
                      <a:pt x="3452893" y="291404"/>
                      <a:pt x="3399613" y="238125"/>
                      <a:pt x="3333830" y="238125"/>
                    </a:cubicBezTo>
                    <a:lnTo>
                      <a:pt x="2917092" y="238125"/>
                    </a:lnTo>
                    <a:cubicBezTo>
                      <a:pt x="2851309" y="238125"/>
                      <a:pt x="2798030" y="291404"/>
                      <a:pt x="2798030" y="357188"/>
                    </a:cubicBezTo>
                    <a:cubicBezTo>
                      <a:pt x="2798030" y="422971"/>
                      <a:pt x="2851309" y="476250"/>
                      <a:pt x="2917092" y="476250"/>
                    </a:cubicBezTo>
                    <a:close/>
                    <a:moveTo>
                      <a:pt x="1637161" y="476250"/>
                    </a:moveTo>
                    <a:lnTo>
                      <a:pt x="2053899" y="476250"/>
                    </a:lnTo>
                    <a:cubicBezTo>
                      <a:pt x="2119682" y="476250"/>
                      <a:pt x="2172961" y="422971"/>
                      <a:pt x="2172961" y="357188"/>
                    </a:cubicBezTo>
                    <a:cubicBezTo>
                      <a:pt x="2172961" y="291404"/>
                      <a:pt x="2119682" y="238125"/>
                      <a:pt x="2053899" y="238125"/>
                    </a:cubicBezTo>
                    <a:lnTo>
                      <a:pt x="1637161" y="238125"/>
                    </a:lnTo>
                    <a:cubicBezTo>
                      <a:pt x="1571377" y="238125"/>
                      <a:pt x="1518098" y="291404"/>
                      <a:pt x="1518098" y="357188"/>
                    </a:cubicBezTo>
                    <a:cubicBezTo>
                      <a:pt x="1518098" y="422971"/>
                      <a:pt x="1571377" y="476250"/>
                      <a:pt x="1637161" y="476250"/>
                    </a:cubicBezTo>
                    <a:close/>
                    <a:moveTo>
                      <a:pt x="357229" y="476250"/>
                    </a:moveTo>
                    <a:lnTo>
                      <a:pt x="773967" y="476250"/>
                    </a:lnTo>
                    <a:cubicBezTo>
                      <a:pt x="839751" y="476250"/>
                      <a:pt x="893030" y="422971"/>
                      <a:pt x="893030" y="357188"/>
                    </a:cubicBezTo>
                    <a:cubicBezTo>
                      <a:pt x="893030" y="291404"/>
                      <a:pt x="839751" y="238125"/>
                      <a:pt x="773967" y="238125"/>
                    </a:cubicBezTo>
                    <a:lnTo>
                      <a:pt x="357229" y="238125"/>
                    </a:lnTo>
                    <a:cubicBezTo>
                      <a:pt x="291446" y="238125"/>
                      <a:pt x="238167" y="291404"/>
                      <a:pt x="238167" y="357188"/>
                    </a:cubicBezTo>
                    <a:cubicBezTo>
                      <a:pt x="238167" y="422971"/>
                      <a:pt x="291446" y="476250"/>
                      <a:pt x="357229" y="476250"/>
                    </a:cubicBezTo>
                    <a:close/>
                  </a:path>
                </a:pathLst>
              </a:custGeom>
              <a:grpFill/>
              <a:ln w="38100"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95FFC12B-8255-5A55-20FC-9A5CF97C9B3F}"/>
              </a:ext>
            </a:extLst>
          </p:cNvPr>
          <p:cNvGrpSpPr/>
          <p:nvPr/>
        </p:nvGrpSpPr>
        <p:grpSpPr>
          <a:xfrm>
            <a:off x="6455485" y="1223148"/>
            <a:ext cx="763802" cy="763802"/>
            <a:chOff x="6455485" y="1248548"/>
            <a:chExt cx="763802" cy="763802"/>
          </a:xfrm>
        </p:grpSpPr>
        <p:grpSp>
          <p:nvGrpSpPr>
            <p:cNvPr id="70" name="Group 69">
              <a:extLst>
                <a:ext uri="{FF2B5EF4-FFF2-40B4-BE49-F238E27FC236}">
                  <a16:creationId xmlns:a16="http://schemas.microsoft.com/office/drawing/2014/main" id="{B9A1E092-FAFA-4C41-38D0-196F1910461D}"/>
                </a:ext>
              </a:extLst>
            </p:cNvPr>
            <p:cNvGrpSpPr/>
            <p:nvPr/>
          </p:nvGrpSpPr>
          <p:grpSpPr>
            <a:xfrm>
              <a:off x="6455485" y="1248548"/>
              <a:ext cx="763802" cy="763802"/>
              <a:chOff x="1181289" y="2865536"/>
              <a:chExt cx="1024128" cy="1023806"/>
            </a:xfrm>
          </p:grpSpPr>
          <p:pic>
            <p:nvPicPr>
              <p:cNvPr id="74" name="Picture 73" descr="A picture containing shape&#10;&#10;Description automatically generated">
                <a:extLst>
                  <a:ext uri="{FF2B5EF4-FFF2-40B4-BE49-F238E27FC236}">
                    <a16:creationId xmlns:a16="http://schemas.microsoft.com/office/drawing/2014/main" id="{DBF1CC69-ACCB-AE85-123B-A1ACC349401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75" name="Oval 74">
                <a:extLst>
                  <a:ext uri="{FF2B5EF4-FFF2-40B4-BE49-F238E27FC236}">
                    <a16:creationId xmlns:a16="http://schemas.microsoft.com/office/drawing/2014/main" id="{F2FDC8DF-C4B0-68C6-1445-7D3B8371B034}"/>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a:extLst>
                <a:ext uri="{FF2B5EF4-FFF2-40B4-BE49-F238E27FC236}">
                  <a16:creationId xmlns:a16="http://schemas.microsoft.com/office/drawing/2014/main" id="{6C341E22-A363-577A-2544-3213595DD796}"/>
                </a:ext>
              </a:extLst>
            </p:cNvPr>
            <p:cNvGrpSpPr/>
            <p:nvPr/>
          </p:nvGrpSpPr>
          <p:grpSpPr>
            <a:xfrm>
              <a:off x="6641190" y="1449775"/>
              <a:ext cx="389399" cy="361341"/>
              <a:chOff x="7179047" y="-14332007"/>
              <a:chExt cx="3602267" cy="3342672"/>
            </a:xfrm>
            <a:solidFill>
              <a:schemeClr val="accent5"/>
            </a:solidFill>
          </p:grpSpPr>
          <p:sp>
            <p:nvSpPr>
              <p:cNvPr id="84" name="Freeform: Shape 83">
                <a:extLst>
                  <a:ext uri="{FF2B5EF4-FFF2-40B4-BE49-F238E27FC236}">
                    <a16:creationId xmlns:a16="http://schemas.microsoft.com/office/drawing/2014/main" id="{A880C04F-04E7-E6C0-DF9A-33DCEC045EFD}"/>
                  </a:ext>
                </a:extLst>
              </p:cNvPr>
              <p:cNvSpPr/>
              <p:nvPr/>
            </p:nvSpPr>
            <p:spPr>
              <a:xfrm>
                <a:off x="9169494" y="-13077558"/>
                <a:ext cx="1611820" cy="2088222"/>
              </a:xfrm>
              <a:custGeom>
                <a:avLst/>
                <a:gdLst>
                  <a:gd name="connsiteX0" fmla="*/ 1380839 w 1611820"/>
                  <a:gd name="connsiteY0" fmla="*/ 0 h 2088222"/>
                  <a:gd name="connsiteX1" fmla="*/ 230981 w 1611820"/>
                  <a:gd name="connsiteY1" fmla="*/ 0 h 2088222"/>
                  <a:gd name="connsiteX2" fmla="*/ 0 w 1611820"/>
                  <a:gd name="connsiteY2" fmla="*/ 230981 h 2088222"/>
                  <a:gd name="connsiteX3" fmla="*/ 0 w 1611820"/>
                  <a:gd name="connsiteY3" fmla="*/ 1857242 h 2088222"/>
                  <a:gd name="connsiteX4" fmla="*/ 230981 w 1611820"/>
                  <a:gd name="connsiteY4" fmla="*/ 2088223 h 2088222"/>
                  <a:gd name="connsiteX5" fmla="*/ 1380839 w 1611820"/>
                  <a:gd name="connsiteY5" fmla="*/ 2087926 h 2088222"/>
                  <a:gd name="connsiteX6" fmla="*/ 1611821 w 1611820"/>
                  <a:gd name="connsiteY6" fmla="*/ 1856944 h 2088222"/>
                  <a:gd name="connsiteX7" fmla="*/ 1611821 w 1611820"/>
                  <a:gd name="connsiteY7" fmla="*/ 230836 h 2088222"/>
                  <a:gd name="connsiteX8" fmla="*/ 1380839 w 1611820"/>
                  <a:gd name="connsiteY8" fmla="*/ 4 h 2088222"/>
                  <a:gd name="connsiteX9" fmla="*/ 498901 w 1611820"/>
                  <a:gd name="connsiteY9" fmla="*/ 1857070 h 2088222"/>
                  <a:gd name="connsiteX10" fmla="*/ 231012 w 1611820"/>
                  <a:gd name="connsiteY10" fmla="*/ 1857070 h 2088222"/>
                  <a:gd name="connsiteX11" fmla="*/ 231012 w 1611820"/>
                  <a:gd name="connsiteY11" fmla="*/ 1642312 h 2088222"/>
                  <a:gd name="connsiteX12" fmla="*/ 498901 w 1611820"/>
                  <a:gd name="connsiteY12" fmla="*/ 1642312 h 2088222"/>
                  <a:gd name="connsiteX13" fmla="*/ 498901 w 1611820"/>
                  <a:gd name="connsiteY13" fmla="*/ 1468488 h 2088222"/>
                  <a:gd name="connsiteX14" fmla="*/ 231012 w 1611820"/>
                  <a:gd name="connsiteY14" fmla="*/ 1468488 h 2088222"/>
                  <a:gd name="connsiteX15" fmla="*/ 231012 w 1611820"/>
                  <a:gd name="connsiteY15" fmla="*/ 1253730 h 2088222"/>
                  <a:gd name="connsiteX16" fmla="*/ 498901 w 1611820"/>
                  <a:gd name="connsiteY16" fmla="*/ 1253730 h 2088222"/>
                  <a:gd name="connsiteX17" fmla="*/ 498901 w 1611820"/>
                  <a:gd name="connsiteY17" fmla="*/ 1080630 h 2088222"/>
                  <a:gd name="connsiteX18" fmla="*/ 231012 w 1611820"/>
                  <a:gd name="connsiteY18" fmla="*/ 1080630 h 2088222"/>
                  <a:gd name="connsiteX19" fmla="*/ 231012 w 1611820"/>
                  <a:gd name="connsiteY19" fmla="*/ 865872 h 2088222"/>
                  <a:gd name="connsiteX20" fmla="*/ 498901 w 1611820"/>
                  <a:gd name="connsiteY20" fmla="*/ 865872 h 2088222"/>
                  <a:gd name="connsiteX21" fmla="*/ 939870 w 1611820"/>
                  <a:gd name="connsiteY21" fmla="*/ 1857070 h 2088222"/>
                  <a:gd name="connsiteX22" fmla="*/ 671981 w 1611820"/>
                  <a:gd name="connsiteY22" fmla="*/ 1857070 h 2088222"/>
                  <a:gd name="connsiteX23" fmla="*/ 671981 w 1611820"/>
                  <a:gd name="connsiteY23" fmla="*/ 1642312 h 2088222"/>
                  <a:gd name="connsiteX24" fmla="*/ 939870 w 1611820"/>
                  <a:gd name="connsiteY24" fmla="*/ 1642312 h 2088222"/>
                  <a:gd name="connsiteX25" fmla="*/ 939870 w 1611820"/>
                  <a:gd name="connsiteY25" fmla="*/ 1468488 h 2088222"/>
                  <a:gd name="connsiteX26" fmla="*/ 671981 w 1611820"/>
                  <a:gd name="connsiteY26" fmla="*/ 1468488 h 2088222"/>
                  <a:gd name="connsiteX27" fmla="*/ 671981 w 1611820"/>
                  <a:gd name="connsiteY27" fmla="*/ 1253730 h 2088222"/>
                  <a:gd name="connsiteX28" fmla="*/ 939870 w 1611820"/>
                  <a:gd name="connsiteY28" fmla="*/ 1253730 h 2088222"/>
                  <a:gd name="connsiteX29" fmla="*/ 939870 w 1611820"/>
                  <a:gd name="connsiteY29" fmla="*/ 1080630 h 2088222"/>
                  <a:gd name="connsiteX30" fmla="*/ 671981 w 1611820"/>
                  <a:gd name="connsiteY30" fmla="*/ 1080630 h 2088222"/>
                  <a:gd name="connsiteX31" fmla="*/ 671981 w 1611820"/>
                  <a:gd name="connsiteY31" fmla="*/ 865872 h 2088222"/>
                  <a:gd name="connsiteX32" fmla="*/ 939870 w 1611820"/>
                  <a:gd name="connsiteY32" fmla="*/ 865872 h 2088222"/>
                  <a:gd name="connsiteX33" fmla="*/ 1380839 w 1611820"/>
                  <a:gd name="connsiteY33" fmla="*/ 1857070 h 2088222"/>
                  <a:gd name="connsiteX34" fmla="*/ 1112951 w 1611820"/>
                  <a:gd name="connsiteY34" fmla="*/ 1857070 h 2088222"/>
                  <a:gd name="connsiteX35" fmla="*/ 1112951 w 1611820"/>
                  <a:gd name="connsiteY35" fmla="*/ 1642312 h 2088222"/>
                  <a:gd name="connsiteX36" fmla="*/ 1380839 w 1611820"/>
                  <a:gd name="connsiteY36" fmla="*/ 1642312 h 2088222"/>
                  <a:gd name="connsiteX37" fmla="*/ 1380839 w 1611820"/>
                  <a:gd name="connsiteY37" fmla="*/ 1468488 h 2088222"/>
                  <a:gd name="connsiteX38" fmla="*/ 1112951 w 1611820"/>
                  <a:gd name="connsiteY38" fmla="*/ 1468488 h 2088222"/>
                  <a:gd name="connsiteX39" fmla="*/ 1113099 w 1611820"/>
                  <a:gd name="connsiteY39" fmla="*/ 1253730 h 2088222"/>
                  <a:gd name="connsiteX40" fmla="*/ 1380988 w 1611820"/>
                  <a:gd name="connsiteY40" fmla="*/ 1253730 h 2088222"/>
                  <a:gd name="connsiteX41" fmla="*/ 1380839 w 1611820"/>
                  <a:gd name="connsiteY41" fmla="*/ 1080630 h 2088222"/>
                  <a:gd name="connsiteX42" fmla="*/ 1112951 w 1611820"/>
                  <a:gd name="connsiteY42" fmla="*/ 1080630 h 2088222"/>
                  <a:gd name="connsiteX43" fmla="*/ 1112951 w 1611820"/>
                  <a:gd name="connsiteY43" fmla="*/ 865872 h 2088222"/>
                  <a:gd name="connsiteX44" fmla="*/ 1380839 w 1611820"/>
                  <a:gd name="connsiteY44" fmla="*/ 865872 h 2088222"/>
                  <a:gd name="connsiteX45" fmla="*/ 1380839 w 1611820"/>
                  <a:gd name="connsiteY45" fmla="*/ 634898 h 2088222"/>
                  <a:gd name="connsiteX46" fmla="*/ 230981 w 1611820"/>
                  <a:gd name="connsiteY46" fmla="*/ 634898 h 2088222"/>
                  <a:gd name="connsiteX47" fmla="*/ 230981 w 1611820"/>
                  <a:gd name="connsiteY47" fmla="*/ 230848 h 2088222"/>
                  <a:gd name="connsiteX48" fmla="*/ 1380839 w 1611820"/>
                  <a:gd name="connsiteY48" fmla="*/ 230848 h 208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1820" h="2088222">
                    <a:moveTo>
                      <a:pt x="1380839" y="0"/>
                    </a:moveTo>
                    <a:lnTo>
                      <a:pt x="230981" y="0"/>
                    </a:lnTo>
                    <a:cubicBezTo>
                      <a:pt x="103434" y="0"/>
                      <a:pt x="0" y="103285"/>
                      <a:pt x="0" y="230981"/>
                    </a:cubicBezTo>
                    <a:lnTo>
                      <a:pt x="0" y="1857242"/>
                    </a:lnTo>
                    <a:cubicBezTo>
                      <a:pt x="0" y="1984789"/>
                      <a:pt x="103285" y="2088223"/>
                      <a:pt x="230981" y="2088223"/>
                    </a:cubicBezTo>
                    <a:lnTo>
                      <a:pt x="1380839" y="2087926"/>
                    </a:lnTo>
                    <a:cubicBezTo>
                      <a:pt x="1508387" y="2087926"/>
                      <a:pt x="1611821" y="1984640"/>
                      <a:pt x="1611821" y="1856944"/>
                    </a:cubicBezTo>
                    <a:lnTo>
                      <a:pt x="1611821" y="230836"/>
                    </a:lnTo>
                    <a:cubicBezTo>
                      <a:pt x="1611821" y="103289"/>
                      <a:pt x="1508535" y="4"/>
                      <a:pt x="1380839" y="4"/>
                    </a:cubicBezTo>
                    <a:close/>
                    <a:moveTo>
                      <a:pt x="498901" y="1857070"/>
                    </a:moveTo>
                    <a:lnTo>
                      <a:pt x="231012" y="1857070"/>
                    </a:lnTo>
                    <a:lnTo>
                      <a:pt x="231012" y="1642312"/>
                    </a:lnTo>
                    <a:lnTo>
                      <a:pt x="498901" y="1642312"/>
                    </a:lnTo>
                    <a:close/>
                    <a:moveTo>
                      <a:pt x="498901" y="1468488"/>
                    </a:moveTo>
                    <a:lnTo>
                      <a:pt x="231012" y="1468488"/>
                    </a:lnTo>
                    <a:lnTo>
                      <a:pt x="231012" y="1253730"/>
                    </a:lnTo>
                    <a:lnTo>
                      <a:pt x="498901" y="1253730"/>
                    </a:lnTo>
                    <a:close/>
                    <a:moveTo>
                      <a:pt x="498901" y="1080630"/>
                    </a:moveTo>
                    <a:lnTo>
                      <a:pt x="231012" y="1080630"/>
                    </a:lnTo>
                    <a:lnTo>
                      <a:pt x="231012" y="865872"/>
                    </a:lnTo>
                    <a:lnTo>
                      <a:pt x="498901" y="865872"/>
                    </a:lnTo>
                    <a:close/>
                    <a:moveTo>
                      <a:pt x="939870" y="1857070"/>
                    </a:moveTo>
                    <a:lnTo>
                      <a:pt x="671981" y="1857070"/>
                    </a:lnTo>
                    <a:lnTo>
                      <a:pt x="671981" y="1642312"/>
                    </a:lnTo>
                    <a:lnTo>
                      <a:pt x="939870" y="1642312"/>
                    </a:lnTo>
                    <a:close/>
                    <a:moveTo>
                      <a:pt x="939870" y="1468488"/>
                    </a:moveTo>
                    <a:lnTo>
                      <a:pt x="671981" y="1468488"/>
                    </a:lnTo>
                    <a:lnTo>
                      <a:pt x="671981" y="1253730"/>
                    </a:lnTo>
                    <a:lnTo>
                      <a:pt x="939870" y="1253730"/>
                    </a:lnTo>
                    <a:close/>
                    <a:moveTo>
                      <a:pt x="939870" y="1080630"/>
                    </a:moveTo>
                    <a:lnTo>
                      <a:pt x="671981" y="1080630"/>
                    </a:lnTo>
                    <a:lnTo>
                      <a:pt x="671981" y="865872"/>
                    </a:lnTo>
                    <a:lnTo>
                      <a:pt x="939870" y="865872"/>
                    </a:lnTo>
                    <a:close/>
                    <a:moveTo>
                      <a:pt x="1380839" y="1857070"/>
                    </a:moveTo>
                    <a:lnTo>
                      <a:pt x="1112951" y="1857070"/>
                    </a:lnTo>
                    <a:lnTo>
                      <a:pt x="1112951" y="1642312"/>
                    </a:lnTo>
                    <a:lnTo>
                      <a:pt x="1380839" y="1642312"/>
                    </a:lnTo>
                    <a:close/>
                    <a:moveTo>
                      <a:pt x="1380839" y="1468488"/>
                    </a:moveTo>
                    <a:lnTo>
                      <a:pt x="1112951" y="1468488"/>
                    </a:lnTo>
                    <a:lnTo>
                      <a:pt x="1113099" y="1253730"/>
                    </a:lnTo>
                    <a:lnTo>
                      <a:pt x="1380988" y="1253730"/>
                    </a:lnTo>
                    <a:close/>
                    <a:moveTo>
                      <a:pt x="1380839" y="1080630"/>
                    </a:moveTo>
                    <a:lnTo>
                      <a:pt x="1112951" y="1080630"/>
                    </a:lnTo>
                    <a:lnTo>
                      <a:pt x="1112951" y="865872"/>
                    </a:lnTo>
                    <a:lnTo>
                      <a:pt x="1380839" y="865872"/>
                    </a:lnTo>
                    <a:close/>
                    <a:moveTo>
                      <a:pt x="1380839" y="634898"/>
                    </a:moveTo>
                    <a:lnTo>
                      <a:pt x="230981" y="634898"/>
                    </a:lnTo>
                    <a:lnTo>
                      <a:pt x="230981" y="230848"/>
                    </a:lnTo>
                    <a:lnTo>
                      <a:pt x="1380839" y="230848"/>
                    </a:ln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6038127-A2FF-2C36-F7B6-63751D3C6A18}"/>
                  </a:ext>
                </a:extLst>
              </p:cNvPr>
              <p:cNvSpPr/>
              <p:nvPr/>
            </p:nvSpPr>
            <p:spPr>
              <a:xfrm>
                <a:off x="7179047" y="-11282210"/>
                <a:ext cx="722840" cy="292748"/>
              </a:xfrm>
              <a:custGeom>
                <a:avLst/>
                <a:gdLst>
                  <a:gd name="connsiteX0" fmla="*/ 489059 w 722840"/>
                  <a:gd name="connsiteY0" fmla="*/ 0 h 292748"/>
                  <a:gd name="connsiteX1" fmla="*/ 53729 w 722840"/>
                  <a:gd name="connsiteY1" fmla="*/ 0 h 292748"/>
                  <a:gd name="connsiteX2" fmla="*/ 0 w 722840"/>
                  <a:gd name="connsiteY2" fmla="*/ 53729 h 292748"/>
                  <a:gd name="connsiteX3" fmla="*/ 0 w 722840"/>
                  <a:gd name="connsiteY3" fmla="*/ 239020 h 292748"/>
                  <a:gd name="connsiteX4" fmla="*/ 53729 w 722840"/>
                  <a:gd name="connsiteY4" fmla="*/ 292749 h 292748"/>
                  <a:gd name="connsiteX5" fmla="*/ 722841 w 722840"/>
                  <a:gd name="connsiteY5" fmla="*/ 292749 h 292748"/>
                  <a:gd name="connsiteX6" fmla="*/ 489033 w 722840"/>
                  <a:gd name="connsiteY6" fmla="*/ 4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840" h="292748">
                    <a:moveTo>
                      <a:pt x="489059" y="0"/>
                    </a:moveTo>
                    <a:lnTo>
                      <a:pt x="53729" y="0"/>
                    </a:lnTo>
                    <a:cubicBezTo>
                      <a:pt x="23665" y="0"/>
                      <a:pt x="0" y="24258"/>
                      <a:pt x="0" y="53729"/>
                    </a:cubicBezTo>
                    <a:lnTo>
                      <a:pt x="0" y="239020"/>
                    </a:lnTo>
                    <a:cubicBezTo>
                      <a:pt x="0" y="268487"/>
                      <a:pt x="23664" y="292749"/>
                      <a:pt x="53729" y="292749"/>
                    </a:cubicBezTo>
                    <a:lnTo>
                      <a:pt x="722841" y="292749"/>
                    </a:lnTo>
                    <a:cubicBezTo>
                      <a:pt x="618809" y="220420"/>
                      <a:pt x="536806" y="118918"/>
                      <a:pt x="489033" y="4"/>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3E2247EE-EB20-F09B-67A3-8379926208CA}"/>
                  </a:ext>
                </a:extLst>
              </p:cNvPr>
              <p:cNvSpPr/>
              <p:nvPr/>
            </p:nvSpPr>
            <p:spPr>
              <a:xfrm>
                <a:off x="9372815" y="-14046251"/>
                <a:ext cx="283963" cy="283963"/>
              </a:xfrm>
              <a:custGeom>
                <a:avLst/>
                <a:gdLst>
                  <a:gd name="connsiteX0" fmla="*/ 0 w 283963"/>
                  <a:gd name="connsiteY0" fmla="*/ 0 h 283963"/>
                  <a:gd name="connsiteX1" fmla="*/ 0 w 283963"/>
                  <a:gd name="connsiteY1" fmla="*/ 283963 h 283963"/>
                  <a:gd name="connsiteX2" fmla="*/ 283963 w 283963"/>
                  <a:gd name="connsiteY2" fmla="*/ 283963 h 283963"/>
                  <a:gd name="connsiteX3" fmla="*/ 0 w 283963"/>
                  <a:gd name="connsiteY3" fmla="*/ 0 h 283963"/>
                </a:gdLst>
                <a:ahLst/>
                <a:cxnLst>
                  <a:cxn ang="0">
                    <a:pos x="connsiteX0" y="connsiteY0"/>
                  </a:cxn>
                  <a:cxn ang="0">
                    <a:pos x="connsiteX1" y="connsiteY1"/>
                  </a:cxn>
                  <a:cxn ang="0">
                    <a:pos x="connsiteX2" y="connsiteY2"/>
                  </a:cxn>
                  <a:cxn ang="0">
                    <a:pos x="connsiteX3" y="connsiteY3"/>
                  </a:cxn>
                </a:cxnLst>
                <a:rect l="l" t="t" r="r" b="b"/>
                <a:pathLst>
                  <a:path w="283963" h="283963">
                    <a:moveTo>
                      <a:pt x="0" y="0"/>
                    </a:moveTo>
                    <a:lnTo>
                      <a:pt x="0" y="283963"/>
                    </a:lnTo>
                    <a:lnTo>
                      <a:pt x="283963" y="283963"/>
                    </a:lnTo>
                    <a:cubicBezTo>
                      <a:pt x="259110" y="138558"/>
                      <a:pt x="144212" y="24258"/>
                      <a:pt x="0"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9D940A20-0550-C739-9D71-3DCC4DD445B2}"/>
                  </a:ext>
                </a:extLst>
              </p:cNvPr>
              <p:cNvSpPr/>
              <p:nvPr/>
            </p:nvSpPr>
            <p:spPr>
              <a:xfrm>
                <a:off x="8968730" y="-14046278"/>
                <a:ext cx="687434" cy="688032"/>
              </a:xfrm>
              <a:custGeom>
                <a:avLst/>
                <a:gdLst>
                  <a:gd name="connsiteX0" fmla="*/ 687434 w 687434"/>
                  <a:gd name="connsiteY0" fmla="*/ 398857 h 688032"/>
                  <a:gd name="connsiteX1" fmla="*/ 346321 w 687434"/>
                  <a:gd name="connsiteY1" fmla="*/ 398857 h 688032"/>
                  <a:gd name="connsiteX2" fmla="*/ 288577 w 687434"/>
                  <a:gd name="connsiteY2" fmla="*/ 341113 h 688032"/>
                  <a:gd name="connsiteX3" fmla="*/ 288577 w 687434"/>
                  <a:gd name="connsiteY3" fmla="*/ 0 h 688032"/>
                  <a:gd name="connsiteX4" fmla="*/ 0 w 687434"/>
                  <a:gd name="connsiteY4" fmla="*/ 341711 h 688032"/>
                  <a:gd name="connsiteX5" fmla="*/ 346321 w 687434"/>
                  <a:gd name="connsiteY5" fmla="*/ 688033 h 688032"/>
                  <a:gd name="connsiteX6" fmla="*/ 687434 w 687434"/>
                  <a:gd name="connsiteY6" fmla="*/ 398861 h 68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434" h="688032">
                    <a:moveTo>
                      <a:pt x="687434" y="398857"/>
                    </a:moveTo>
                    <a:lnTo>
                      <a:pt x="346321" y="398857"/>
                    </a:lnTo>
                    <a:cubicBezTo>
                      <a:pt x="314622" y="398857"/>
                      <a:pt x="288577" y="372812"/>
                      <a:pt x="288577" y="341113"/>
                    </a:cubicBezTo>
                    <a:lnTo>
                      <a:pt x="288577" y="0"/>
                    </a:lnTo>
                    <a:cubicBezTo>
                      <a:pt x="125162" y="27683"/>
                      <a:pt x="0" y="170261"/>
                      <a:pt x="0" y="341711"/>
                    </a:cubicBezTo>
                    <a:cubicBezTo>
                      <a:pt x="0" y="532806"/>
                      <a:pt x="155227" y="688033"/>
                      <a:pt x="346321" y="688033"/>
                    </a:cubicBezTo>
                    <a:cubicBezTo>
                      <a:pt x="517177" y="687587"/>
                      <a:pt x="659755" y="562867"/>
                      <a:pt x="687434" y="398861"/>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672C39EF-B22A-2734-B6AD-4D2F5383176B}"/>
                  </a:ext>
                </a:extLst>
              </p:cNvPr>
              <p:cNvSpPr/>
              <p:nvPr/>
            </p:nvSpPr>
            <p:spPr>
              <a:xfrm>
                <a:off x="7579143" y="-14332001"/>
                <a:ext cx="654104" cy="654100"/>
              </a:xfrm>
              <a:custGeom>
                <a:avLst/>
                <a:gdLst>
                  <a:gd name="connsiteX0" fmla="*/ 654101 w 654104"/>
                  <a:gd name="connsiteY0" fmla="*/ 536829 h 654100"/>
                  <a:gd name="connsiteX1" fmla="*/ 654101 w 654104"/>
                  <a:gd name="connsiteY1" fmla="*/ 0 h 654100"/>
                  <a:gd name="connsiteX2" fmla="*/ 0 w 654104"/>
                  <a:gd name="connsiteY2" fmla="*/ 654101 h 654100"/>
                  <a:gd name="connsiteX3" fmla="*/ 536829 w 654104"/>
                  <a:gd name="connsiteY3" fmla="*/ 654101 h 654100"/>
                  <a:gd name="connsiteX4" fmla="*/ 654105 w 654104"/>
                  <a:gd name="connsiteY4" fmla="*/ 536825 h 65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104" h="654100">
                    <a:moveTo>
                      <a:pt x="654101" y="536829"/>
                    </a:moveTo>
                    <a:lnTo>
                      <a:pt x="654101" y="0"/>
                    </a:lnTo>
                    <a:lnTo>
                      <a:pt x="0" y="654101"/>
                    </a:lnTo>
                    <a:lnTo>
                      <a:pt x="536829" y="654101"/>
                    </a:lnTo>
                    <a:cubicBezTo>
                      <a:pt x="601569" y="654101"/>
                      <a:pt x="654105" y="601565"/>
                      <a:pt x="654105" y="536825"/>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01F29617-2B09-3CB3-7729-6A9D368BD442}"/>
                  </a:ext>
                </a:extLst>
              </p:cNvPr>
              <p:cNvSpPr/>
              <p:nvPr/>
            </p:nvSpPr>
            <p:spPr>
              <a:xfrm>
                <a:off x="7737296" y="-12057621"/>
                <a:ext cx="1068019" cy="1067992"/>
              </a:xfrm>
              <a:custGeom>
                <a:avLst/>
                <a:gdLst>
                  <a:gd name="connsiteX0" fmla="*/ 1068019 w 1068019"/>
                  <a:gd name="connsiteY0" fmla="*/ 534010 h 1067992"/>
                  <a:gd name="connsiteX1" fmla="*/ 534010 w 1068019"/>
                  <a:gd name="connsiteY1" fmla="*/ 0 h 1067992"/>
                  <a:gd name="connsiteX2" fmla="*/ 125311 w 1068019"/>
                  <a:gd name="connsiteY2" fmla="*/ 190500 h 1067992"/>
                  <a:gd name="connsiteX3" fmla="*/ 125905 w 1068019"/>
                  <a:gd name="connsiteY3" fmla="*/ 189311 h 1067992"/>
                  <a:gd name="connsiteX4" fmla="*/ 125311 w 1068019"/>
                  <a:gd name="connsiteY4" fmla="*/ 189311 h 1067992"/>
                  <a:gd name="connsiteX5" fmla="*/ 122484 w 1068019"/>
                  <a:gd name="connsiteY5" fmla="*/ 192733 h 1067992"/>
                  <a:gd name="connsiteX6" fmla="*/ 2381 w 1068019"/>
                  <a:gd name="connsiteY6" fmla="*/ 482502 h 1067992"/>
                  <a:gd name="connsiteX7" fmla="*/ 1787 w 1068019"/>
                  <a:gd name="connsiteY7" fmla="*/ 482651 h 1067992"/>
                  <a:gd name="connsiteX8" fmla="*/ 0 w 1068019"/>
                  <a:gd name="connsiteY8" fmla="*/ 506315 h 1067992"/>
                  <a:gd name="connsiteX9" fmla="*/ 2381 w 1068019"/>
                  <a:gd name="connsiteY9" fmla="*/ 483245 h 1067992"/>
                  <a:gd name="connsiteX10" fmla="*/ 0 w 1068019"/>
                  <a:gd name="connsiteY10" fmla="*/ 533994 h 1067992"/>
                  <a:gd name="connsiteX11" fmla="*/ 58937 w 1068019"/>
                  <a:gd name="connsiteY11" fmla="*/ 777031 h 1067992"/>
                  <a:gd name="connsiteX12" fmla="*/ 57744 w 1068019"/>
                  <a:gd name="connsiteY12" fmla="*/ 775244 h 1067992"/>
                  <a:gd name="connsiteX13" fmla="*/ 44501 w 1068019"/>
                  <a:gd name="connsiteY13" fmla="*/ 747564 h 1067992"/>
                  <a:gd name="connsiteX14" fmla="*/ 57150 w 1068019"/>
                  <a:gd name="connsiteY14" fmla="*/ 775244 h 1067992"/>
                  <a:gd name="connsiteX15" fmla="*/ 62358 w 1068019"/>
                  <a:gd name="connsiteY15" fmla="*/ 784471 h 1067992"/>
                  <a:gd name="connsiteX16" fmla="*/ 67567 w 1068019"/>
                  <a:gd name="connsiteY16" fmla="*/ 793699 h 1067992"/>
                  <a:gd name="connsiteX17" fmla="*/ 89447 w 1068019"/>
                  <a:gd name="connsiteY17" fmla="*/ 829418 h 1067992"/>
                  <a:gd name="connsiteX18" fmla="*/ 92869 w 1068019"/>
                  <a:gd name="connsiteY18" fmla="*/ 834626 h 1067992"/>
                  <a:gd name="connsiteX19" fmla="*/ 118914 w 1068019"/>
                  <a:gd name="connsiteY19" fmla="*/ 869305 h 1067992"/>
                  <a:gd name="connsiteX20" fmla="*/ 124122 w 1068019"/>
                  <a:gd name="connsiteY20" fmla="*/ 876300 h 1067992"/>
                  <a:gd name="connsiteX21" fmla="*/ 148979 w 1068019"/>
                  <a:gd name="connsiteY21" fmla="*/ 903385 h 1067992"/>
                  <a:gd name="connsiteX22" fmla="*/ 160584 w 1068019"/>
                  <a:gd name="connsiteY22" fmla="*/ 914994 h 1067992"/>
                  <a:gd name="connsiteX23" fmla="*/ 164009 w 1068019"/>
                  <a:gd name="connsiteY23" fmla="*/ 919014 h 1067992"/>
                  <a:gd name="connsiteX24" fmla="*/ 161182 w 1068019"/>
                  <a:gd name="connsiteY24" fmla="*/ 915592 h 1067992"/>
                  <a:gd name="connsiteX25" fmla="*/ 534147 w 1068019"/>
                  <a:gd name="connsiteY25" fmla="*/ 1067992 h 1067992"/>
                  <a:gd name="connsiteX26" fmla="*/ 1068004 w 1068019"/>
                  <a:gd name="connsiteY26" fmla="*/ 533983 h 1067992"/>
                  <a:gd name="connsiteX27" fmla="*/ 76238 w 1068019"/>
                  <a:gd name="connsiteY27" fmla="*/ 808299 h 1067992"/>
                  <a:gd name="connsiteX28" fmla="*/ 82639 w 1068019"/>
                  <a:gd name="connsiteY28" fmla="*/ 818716 h 1067992"/>
                  <a:gd name="connsiteX29" fmla="*/ 76238 w 1068019"/>
                  <a:gd name="connsiteY29" fmla="*/ 808299 h 1067992"/>
                  <a:gd name="connsiteX30" fmla="*/ 101689 w 1068019"/>
                  <a:gd name="connsiteY30" fmla="*/ 846993 h 1067992"/>
                  <a:gd name="connsiteX31" fmla="*/ 109724 w 1068019"/>
                  <a:gd name="connsiteY31" fmla="*/ 858008 h 1067992"/>
                  <a:gd name="connsiteX32" fmla="*/ 101689 w 1068019"/>
                  <a:gd name="connsiteY32" fmla="*/ 846993 h 1067992"/>
                  <a:gd name="connsiteX33" fmla="*/ 129967 w 1068019"/>
                  <a:gd name="connsiteY33" fmla="*/ 882712 h 1067992"/>
                  <a:gd name="connsiteX34" fmla="*/ 141572 w 1068019"/>
                  <a:gd name="connsiteY34" fmla="*/ 895361 h 1067992"/>
                  <a:gd name="connsiteX35" fmla="*/ 129967 w 1068019"/>
                  <a:gd name="connsiteY35" fmla="*/ 882712 h 1067992"/>
                  <a:gd name="connsiteX36" fmla="*/ 533446 w 1068019"/>
                  <a:gd name="connsiteY36" fmla="*/ 476261 h 1067992"/>
                  <a:gd name="connsiteX37" fmla="*/ 725134 w 1068019"/>
                  <a:gd name="connsiteY37" fmla="*/ 667950 h 1067992"/>
                  <a:gd name="connsiteX38" fmla="*/ 591190 w 1068019"/>
                  <a:gd name="connsiteY38" fmla="*/ 849817 h 1067992"/>
                  <a:gd name="connsiteX39" fmla="*/ 591190 w 1068019"/>
                  <a:gd name="connsiteY39" fmla="*/ 894318 h 1067992"/>
                  <a:gd name="connsiteX40" fmla="*/ 533446 w 1068019"/>
                  <a:gd name="connsiteY40" fmla="*/ 952062 h 1067992"/>
                  <a:gd name="connsiteX41" fmla="*/ 475701 w 1068019"/>
                  <a:gd name="connsiteY41" fmla="*/ 894318 h 1067992"/>
                  <a:gd name="connsiteX42" fmla="*/ 475701 w 1068019"/>
                  <a:gd name="connsiteY42" fmla="*/ 849817 h 1067992"/>
                  <a:gd name="connsiteX43" fmla="*/ 341757 w 1068019"/>
                  <a:gd name="connsiteY43" fmla="*/ 667950 h 1067992"/>
                  <a:gd name="connsiteX44" fmla="*/ 399501 w 1068019"/>
                  <a:gd name="connsiteY44" fmla="*/ 610206 h 1067992"/>
                  <a:gd name="connsiteX45" fmla="*/ 457246 w 1068019"/>
                  <a:gd name="connsiteY45" fmla="*/ 667950 h 1067992"/>
                  <a:gd name="connsiteX46" fmla="*/ 533446 w 1068019"/>
                  <a:gd name="connsiteY46" fmla="*/ 744150 h 1067992"/>
                  <a:gd name="connsiteX47" fmla="*/ 609646 w 1068019"/>
                  <a:gd name="connsiteY47" fmla="*/ 667950 h 1067992"/>
                  <a:gd name="connsiteX48" fmla="*/ 533446 w 1068019"/>
                  <a:gd name="connsiteY48" fmla="*/ 591750 h 1067992"/>
                  <a:gd name="connsiteX49" fmla="*/ 341757 w 1068019"/>
                  <a:gd name="connsiteY49" fmla="*/ 400061 h 1067992"/>
                  <a:gd name="connsiteX50" fmla="*/ 475701 w 1068019"/>
                  <a:gd name="connsiteY50" fmla="*/ 218195 h 1067992"/>
                  <a:gd name="connsiteX51" fmla="*/ 475701 w 1068019"/>
                  <a:gd name="connsiteY51" fmla="*/ 173694 h 1067992"/>
                  <a:gd name="connsiteX52" fmla="*/ 533446 w 1068019"/>
                  <a:gd name="connsiteY52" fmla="*/ 115950 h 1067992"/>
                  <a:gd name="connsiteX53" fmla="*/ 591190 w 1068019"/>
                  <a:gd name="connsiteY53" fmla="*/ 173694 h 1067992"/>
                  <a:gd name="connsiteX54" fmla="*/ 591190 w 1068019"/>
                  <a:gd name="connsiteY54" fmla="*/ 218195 h 1067992"/>
                  <a:gd name="connsiteX55" fmla="*/ 725134 w 1068019"/>
                  <a:gd name="connsiteY55" fmla="*/ 400061 h 1067992"/>
                  <a:gd name="connsiteX56" fmla="*/ 667390 w 1068019"/>
                  <a:gd name="connsiteY56" fmla="*/ 457806 h 1067992"/>
                  <a:gd name="connsiteX57" fmla="*/ 609646 w 1068019"/>
                  <a:gd name="connsiteY57" fmla="*/ 400061 h 1067992"/>
                  <a:gd name="connsiteX58" fmla="*/ 533446 w 1068019"/>
                  <a:gd name="connsiteY58" fmla="*/ 323861 h 1067992"/>
                  <a:gd name="connsiteX59" fmla="*/ 457246 w 1068019"/>
                  <a:gd name="connsiteY59" fmla="*/ 400061 h 1067992"/>
                  <a:gd name="connsiteX60" fmla="*/ 533446 w 1068019"/>
                  <a:gd name="connsiteY60" fmla="*/ 476261 h 106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68019" h="1067992">
                    <a:moveTo>
                      <a:pt x="1068019" y="534010"/>
                    </a:moveTo>
                    <a:cubicBezTo>
                      <a:pt x="1068019" y="239032"/>
                      <a:pt x="829003" y="0"/>
                      <a:pt x="534010" y="0"/>
                    </a:cubicBezTo>
                    <a:cubicBezTo>
                      <a:pt x="370001" y="0"/>
                      <a:pt x="223407" y="73819"/>
                      <a:pt x="125311" y="190500"/>
                    </a:cubicBezTo>
                    <a:cubicBezTo>
                      <a:pt x="125311" y="189906"/>
                      <a:pt x="125905" y="189906"/>
                      <a:pt x="125905" y="189311"/>
                    </a:cubicBezTo>
                    <a:lnTo>
                      <a:pt x="125311" y="189311"/>
                    </a:lnTo>
                    <a:cubicBezTo>
                      <a:pt x="124118" y="190500"/>
                      <a:pt x="123524" y="191692"/>
                      <a:pt x="122484" y="192733"/>
                    </a:cubicBezTo>
                    <a:cubicBezTo>
                      <a:pt x="56106" y="272952"/>
                      <a:pt x="12798" y="372816"/>
                      <a:pt x="2381" y="482502"/>
                    </a:cubicBezTo>
                    <a:lnTo>
                      <a:pt x="1787" y="482651"/>
                    </a:lnTo>
                    <a:cubicBezTo>
                      <a:pt x="1189" y="490686"/>
                      <a:pt x="594" y="498874"/>
                      <a:pt x="0" y="506315"/>
                    </a:cubicBezTo>
                    <a:cubicBezTo>
                      <a:pt x="594" y="498276"/>
                      <a:pt x="1787" y="490686"/>
                      <a:pt x="2381" y="483245"/>
                    </a:cubicBezTo>
                    <a:cubicBezTo>
                      <a:pt x="594" y="499914"/>
                      <a:pt x="0" y="516731"/>
                      <a:pt x="0" y="533994"/>
                    </a:cubicBezTo>
                    <a:cubicBezTo>
                      <a:pt x="0" y="621803"/>
                      <a:pt x="21431" y="704256"/>
                      <a:pt x="58937" y="777031"/>
                    </a:cubicBezTo>
                    <a:cubicBezTo>
                      <a:pt x="58937" y="776436"/>
                      <a:pt x="58343" y="775842"/>
                      <a:pt x="57744" y="775244"/>
                    </a:cubicBezTo>
                    <a:cubicBezTo>
                      <a:pt x="53130" y="766020"/>
                      <a:pt x="48517" y="756792"/>
                      <a:pt x="44501" y="747564"/>
                    </a:cubicBezTo>
                    <a:cubicBezTo>
                      <a:pt x="47922" y="757386"/>
                      <a:pt x="52536" y="766614"/>
                      <a:pt x="57150" y="775244"/>
                    </a:cubicBezTo>
                    <a:cubicBezTo>
                      <a:pt x="58937" y="778669"/>
                      <a:pt x="60571" y="781644"/>
                      <a:pt x="62358" y="784471"/>
                    </a:cubicBezTo>
                    <a:cubicBezTo>
                      <a:pt x="64145" y="787302"/>
                      <a:pt x="65783" y="790872"/>
                      <a:pt x="67567" y="793699"/>
                    </a:cubicBezTo>
                    <a:cubicBezTo>
                      <a:pt x="74562" y="805754"/>
                      <a:pt x="81408" y="817957"/>
                      <a:pt x="89447" y="829418"/>
                    </a:cubicBezTo>
                    <a:cubicBezTo>
                      <a:pt x="90636" y="831205"/>
                      <a:pt x="91829" y="832843"/>
                      <a:pt x="92869" y="834626"/>
                    </a:cubicBezTo>
                    <a:cubicBezTo>
                      <a:pt x="100904" y="846685"/>
                      <a:pt x="109538" y="857696"/>
                      <a:pt x="118914" y="869305"/>
                    </a:cubicBezTo>
                    <a:cubicBezTo>
                      <a:pt x="120701" y="871686"/>
                      <a:pt x="122335" y="873919"/>
                      <a:pt x="124122" y="876300"/>
                    </a:cubicBezTo>
                    <a:cubicBezTo>
                      <a:pt x="132161" y="885528"/>
                      <a:pt x="140345" y="894756"/>
                      <a:pt x="148979" y="903385"/>
                    </a:cubicBezTo>
                    <a:cubicBezTo>
                      <a:pt x="152994" y="907405"/>
                      <a:pt x="156420" y="911424"/>
                      <a:pt x="160584" y="914994"/>
                    </a:cubicBezTo>
                    <a:cubicBezTo>
                      <a:pt x="161776" y="916187"/>
                      <a:pt x="162965" y="917821"/>
                      <a:pt x="164009" y="919014"/>
                    </a:cubicBezTo>
                    <a:cubicBezTo>
                      <a:pt x="162817" y="917821"/>
                      <a:pt x="161628" y="916633"/>
                      <a:pt x="161182" y="915592"/>
                    </a:cubicBezTo>
                    <a:cubicBezTo>
                      <a:pt x="257621" y="1009654"/>
                      <a:pt x="389188" y="1067992"/>
                      <a:pt x="534147" y="1067992"/>
                    </a:cubicBezTo>
                    <a:cubicBezTo>
                      <a:pt x="828382" y="1067992"/>
                      <a:pt x="1068004" y="828976"/>
                      <a:pt x="1068004" y="533983"/>
                    </a:cubicBezTo>
                    <a:close/>
                    <a:moveTo>
                      <a:pt x="76238" y="808299"/>
                    </a:moveTo>
                    <a:cubicBezTo>
                      <a:pt x="78619" y="811721"/>
                      <a:pt x="80258" y="815294"/>
                      <a:pt x="82639" y="818716"/>
                    </a:cubicBezTo>
                    <a:cubicBezTo>
                      <a:pt x="80258" y="815146"/>
                      <a:pt x="78025" y="811721"/>
                      <a:pt x="76238" y="808299"/>
                    </a:cubicBezTo>
                    <a:close/>
                    <a:moveTo>
                      <a:pt x="101689" y="846993"/>
                    </a:moveTo>
                    <a:cubicBezTo>
                      <a:pt x="104516" y="850415"/>
                      <a:pt x="106897" y="853989"/>
                      <a:pt x="109724" y="858008"/>
                    </a:cubicBezTo>
                    <a:cubicBezTo>
                      <a:pt x="106897" y="853840"/>
                      <a:pt x="103922" y="850415"/>
                      <a:pt x="101689" y="846993"/>
                    </a:cubicBezTo>
                    <a:close/>
                    <a:moveTo>
                      <a:pt x="129967" y="882712"/>
                    </a:moveTo>
                    <a:cubicBezTo>
                      <a:pt x="133982" y="887326"/>
                      <a:pt x="137408" y="891346"/>
                      <a:pt x="141572" y="895361"/>
                    </a:cubicBezTo>
                    <a:cubicBezTo>
                      <a:pt x="138002" y="891346"/>
                      <a:pt x="133982" y="887326"/>
                      <a:pt x="129967" y="882712"/>
                    </a:cubicBezTo>
                    <a:close/>
                    <a:moveTo>
                      <a:pt x="533446" y="476261"/>
                    </a:moveTo>
                    <a:cubicBezTo>
                      <a:pt x="639112" y="476261"/>
                      <a:pt x="725134" y="562284"/>
                      <a:pt x="725134" y="667950"/>
                    </a:cubicBezTo>
                    <a:cubicBezTo>
                      <a:pt x="725134" y="753378"/>
                      <a:pt x="668579" y="824964"/>
                      <a:pt x="591190" y="849817"/>
                    </a:cubicBezTo>
                    <a:lnTo>
                      <a:pt x="591190" y="894318"/>
                    </a:lnTo>
                    <a:cubicBezTo>
                      <a:pt x="591190" y="926017"/>
                      <a:pt x="565145" y="952062"/>
                      <a:pt x="533446" y="952062"/>
                    </a:cubicBezTo>
                    <a:cubicBezTo>
                      <a:pt x="501743" y="952062"/>
                      <a:pt x="475701" y="926017"/>
                      <a:pt x="475701" y="894318"/>
                    </a:cubicBezTo>
                    <a:lnTo>
                      <a:pt x="475701" y="849817"/>
                    </a:lnTo>
                    <a:cubicBezTo>
                      <a:pt x="398313" y="824964"/>
                      <a:pt x="341757" y="753378"/>
                      <a:pt x="341757" y="667950"/>
                    </a:cubicBezTo>
                    <a:cubicBezTo>
                      <a:pt x="341757" y="636251"/>
                      <a:pt x="367798" y="610206"/>
                      <a:pt x="399501" y="610206"/>
                    </a:cubicBezTo>
                    <a:cubicBezTo>
                      <a:pt x="431201" y="610206"/>
                      <a:pt x="457246" y="636251"/>
                      <a:pt x="457246" y="667950"/>
                    </a:cubicBezTo>
                    <a:cubicBezTo>
                      <a:pt x="457246" y="710070"/>
                      <a:pt x="491326" y="744150"/>
                      <a:pt x="533446" y="744150"/>
                    </a:cubicBezTo>
                    <a:cubicBezTo>
                      <a:pt x="575565" y="744150"/>
                      <a:pt x="609646" y="710070"/>
                      <a:pt x="609646" y="667950"/>
                    </a:cubicBezTo>
                    <a:cubicBezTo>
                      <a:pt x="609646" y="625831"/>
                      <a:pt x="575561" y="591750"/>
                      <a:pt x="533446" y="591750"/>
                    </a:cubicBezTo>
                    <a:cubicBezTo>
                      <a:pt x="427779" y="591750"/>
                      <a:pt x="341757" y="505728"/>
                      <a:pt x="341757" y="400061"/>
                    </a:cubicBezTo>
                    <a:cubicBezTo>
                      <a:pt x="341757" y="314634"/>
                      <a:pt x="398313" y="243047"/>
                      <a:pt x="475701" y="218195"/>
                    </a:cubicBezTo>
                    <a:lnTo>
                      <a:pt x="475701" y="173694"/>
                    </a:lnTo>
                    <a:cubicBezTo>
                      <a:pt x="475701" y="141995"/>
                      <a:pt x="501743" y="115950"/>
                      <a:pt x="533446" y="115950"/>
                    </a:cubicBezTo>
                    <a:cubicBezTo>
                      <a:pt x="565145" y="115950"/>
                      <a:pt x="591190" y="141995"/>
                      <a:pt x="591190" y="173694"/>
                    </a:cubicBezTo>
                    <a:lnTo>
                      <a:pt x="591190" y="218195"/>
                    </a:lnTo>
                    <a:cubicBezTo>
                      <a:pt x="668579" y="243047"/>
                      <a:pt x="725134" y="314634"/>
                      <a:pt x="725134" y="400061"/>
                    </a:cubicBezTo>
                    <a:cubicBezTo>
                      <a:pt x="725134" y="431761"/>
                      <a:pt x="699089" y="457806"/>
                      <a:pt x="667390" y="457806"/>
                    </a:cubicBezTo>
                    <a:cubicBezTo>
                      <a:pt x="635691" y="457806"/>
                      <a:pt x="609646" y="431761"/>
                      <a:pt x="609646" y="400061"/>
                    </a:cubicBezTo>
                    <a:cubicBezTo>
                      <a:pt x="609646" y="357942"/>
                      <a:pt x="575561" y="323861"/>
                      <a:pt x="533446" y="323861"/>
                    </a:cubicBezTo>
                    <a:cubicBezTo>
                      <a:pt x="491326" y="323861"/>
                      <a:pt x="457246" y="357942"/>
                      <a:pt x="457246" y="400061"/>
                    </a:cubicBezTo>
                    <a:cubicBezTo>
                      <a:pt x="457246" y="442181"/>
                      <a:pt x="491921" y="476261"/>
                      <a:pt x="533446" y="476261"/>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DC307F9-0C6C-26C7-C3CA-18A5245BAAC3}"/>
                  </a:ext>
                </a:extLst>
              </p:cNvPr>
              <p:cNvSpPr/>
              <p:nvPr/>
            </p:nvSpPr>
            <p:spPr>
              <a:xfrm>
                <a:off x="7579273" y="-14332007"/>
                <a:ext cx="2408933" cy="3341785"/>
              </a:xfrm>
              <a:custGeom>
                <a:avLst/>
                <a:gdLst>
                  <a:gd name="connsiteX0" fmla="*/ 1821203 w 2408933"/>
                  <a:gd name="connsiteY0" fmla="*/ 1138969 h 3341785"/>
                  <a:gd name="connsiteX1" fmla="*/ 2408934 w 2408933"/>
                  <a:gd name="connsiteY1" fmla="*/ 1138969 h 3341785"/>
                  <a:gd name="connsiteX2" fmla="*/ 2408785 w 2408933"/>
                  <a:gd name="connsiteY2" fmla="*/ 117127 h 3341785"/>
                  <a:gd name="connsiteX3" fmla="*/ 2291658 w 2408933"/>
                  <a:gd name="connsiteY3" fmla="*/ 0 h 3341785"/>
                  <a:gd name="connsiteX4" fmla="*/ 769449 w 2408933"/>
                  <a:gd name="connsiteY4" fmla="*/ 0 h 3341785"/>
                  <a:gd name="connsiteX5" fmla="*/ 769449 w 2408933"/>
                  <a:gd name="connsiteY5" fmla="*/ 536829 h 3341785"/>
                  <a:gd name="connsiteX6" fmla="*/ 536829 w 2408933"/>
                  <a:gd name="connsiteY6" fmla="*/ 769449 h 3341785"/>
                  <a:gd name="connsiteX7" fmla="*/ 0 w 2408933"/>
                  <a:gd name="connsiteY7" fmla="*/ 769449 h 3341785"/>
                  <a:gd name="connsiteX8" fmla="*/ 0 w 2408933"/>
                  <a:gd name="connsiteY8" fmla="*/ 2526049 h 3341785"/>
                  <a:gd name="connsiteX9" fmla="*/ 92869 w 2408933"/>
                  <a:gd name="connsiteY9" fmla="*/ 2557154 h 3341785"/>
                  <a:gd name="connsiteX10" fmla="*/ 692067 w 2408933"/>
                  <a:gd name="connsiteY10" fmla="*/ 2158285 h 3341785"/>
                  <a:gd name="connsiteX11" fmla="*/ 1341558 w 2408933"/>
                  <a:gd name="connsiteY11" fmla="*/ 2807776 h 3341785"/>
                  <a:gd name="connsiteX12" fmla="*/ 1061017 w 2408933"/>
                  <a:gd name="connsiteY12" fmla="*/ 3341785 h 3341785"/>
                  <a:gd name="connsiteX13" fmla="*/ 1563746 w 2408933"/>
                  <a:gd name="connsiteY13" fmla="*/ 3341785 h 3341785"/>
                  <a:gd name="connsiteX14" fmla="*/ 1474897 w 2408933"/>
                  <a:gd name="connsiteY14" fmla="*/ 3110804 h 3341785"/>
                  <a:gd name="connsiteX15" fmla="*/ 1474748 w 2408933"/>
                  <a:gd name="connsiteY15" fmla="*/ 1485306 h 3341785"/>
                  <a:gd name="connsiteX16" fmla="*/ 1821222 w 2408933"/>
                  <a:gd name="connsiteY16" fmla="*/ 1138984 h 3341785"/>
                  <a:gd name="connsiteX17" fmla="*/ 864702 w 2408933"/>
                  <a:gd name="connsiteY17" fmla="*/ 907988 h 3341785"/>
                  <a:gd name="connsiteX18" fmla="*/ 973200 w 2408933"/>
                  <a:gd name="connsiteY18" fmla="*/ 907988 h 3341785"/>
                  <a:gd name="connsiteX19" fmla="*/ 1030944 w 2408933"/>
                  <a:gd name="connsiteY19" fmla="*/ 965732 h 3341785"/>
                  <a:gd name="connsiteX20" fmla="*/ 973200 w 2408933"/>
                  <a:gd name="connsiteY20" fmla="*/ 1023476 h 3341785"/>
                  <a:gd name="connsiteX21" fmla="*/ 864702 w 2408933"/>
                  <a:gd name="connsiteY21" fmla="*/ 1023476 h 3341785"/>
                  <a:gd name="connsiteX22" fmla="*/ 806958 w 2408933"/>
                  <a:gd name="connsiteY22" fmla="*/ 965732 h 3341785"/>
                  <a:gd name="connsiteX23" fmla="*/ 864702 w 2408933"/>
                  <a:gd name="connsiteY23" fmla="*/ 907988 h 3341785"/>
                  <a:gd name="connsiteX24" fmla="*/ 864702 w 2408933"/>
                  <a:gd name="connsiteY24" fmla="*/ 1104290 h 3341785"/>
                  <a:gd name="connsiteX25" fmla="*/ 973200 w 2408933"/>
                  <a:gd name="connsiteY25" fmla="*/ 1104290 h 3341785"/>
                  <a:gd name="connsiteX26" fmla="*/ 1030944 w 2408933"/>
                  <a:gd name="connsiteY26" fmla="*/ 1162035 h 3341785"/>
                  <a:gd name="connsiteX27" fmla="*/ 973200 w 2408933"/>
                  <a:gd name="connsiteY27" fmla="*/ 1219779 h 3341785"/>
                  <a:gd name="connsiteX28" fmla="*/ 864702 w 2408933"/>
                  <a:gd name="connsiteY28" fmla="*/ 1219779 h 3341785"/>
                  <a:gd name="connsiteX29" fmla="*/ 806958 w 2408933"/>
                  <a:gd name="connsiteY29" fmla="*/ 1162035 h 3341785"/>
                  <a:gd name="connsiteX30" fmla="*/ 864702 w 2408933"/>
                  <a:gd name="connsiteY30" fmla="*/ 1104290 h 3341785"/>
                  <a:gd name="connsiteX31" fmla="*/ 864702 w 2408933"/>
                  <a:gd name="connsiteY31" fmla="*/ 1301191 h 3341785"/>
                  <a:gd name="connsiteX32" fmla="*/ 973200 w 2408933"/>
                  <a:gd name="connsiteY32" fmla="*/ 1301191 h 3341785"/>
                  <a:gd name="connsiteX33" fmla="*/ 1030944 w 2408933"/>
                  <a:gd name="connsiteY33" fmla="*/ 1358936 h 3341785"/>
                  <a:gd name="connsiteX34" fmla="*/ 973200 w 2408933"/>
                  <a:gd name="connsiteY34" fmla="*/ 1416680 h 3341785"/>
                  <a:gd name="connsiteX35" fmla="*/ 864702 w 2408933"/>
                  <a:gd name="connsiteY35" fmla="*/ 1416680 h 3341785"/>
                  <a:gd name="connsiteX36" fmla="*/ 806958 w 2408933"/>
                  <a:gd name="connsiteY36" fmla="*/ 1358936 h 3341785"/>
                  <a:gd name="connsiteX37" fmla="*/ 864702 w 2408933"/>
                  <a:gd name="connsiteY37" fmla="*/ 1301191 h 3341785"/>
                  <a:gd name="connsiteX38" fmla="*/ 198981 w 2408933"/>
                  <a:gd name="connsiteY38" fmla="*/ 907999 h 3341785"/>
                  <a:gd name="connsiteX39" fmla="*/ 655571 w 2408933"/>
                  <a:gd name="connsiteY39" fmla="*/ 907999 h 3341785"/>
                  <a:gd name="connsiteX40" fmla="*/ 713316 w 2408933"/>
                  <a:gd name="connsiteY40" fmla="*/ 965744 h 3341785"/>
                  <a:gd name="connsiteX41" fmla="*/ 655571 w 2408933"/>
                  <a:gd name="connsiteY41" fmla="*/ 1023488 h 3341785"/>
                  <a:gd name="connsiteX42" fmla="*/ 198981 w 2408933"/>
                  <a:gd name="connsiteY42" fmla="*/ 1023488 h 3341785"/>
                  <a:gd name="connsiteX43" fmla="*/ 141237 w 2408933"/>
                  <a:gd name="connsiteY43" fmla="*/ 965744 h 3341785"/>
                  <a:gd name="connsiteX44" fmla="*/ 198981 w 2408933"/>
                  <a:gd name="connsiteY44" fmla="*/ 907999 h 3341785"/>
                  <a:gd name="connsiteX45" fmla="*/ 198981 w 2408933"/>
                  <a:gd name="connsiteY45" fmla="*/ 1104302 h 3341785"/>
                  <a:gd name="connsiteX46" fmla="*/ 655571 w 2408933"/>
                  <a:gd name="connsiteY46" fmla="*/ 1104302 h 3341785"/>
                  <a:gd name="connsiteX47" fmla="*/ 713316 w 2408933"/>
                  <a:gd name="connsiteY47" fmla="*/ 1162046 h 3341785"/>
                  <a:gd name="connsiteX48" fmla="*/ 655571 w 2408933"/>
                  <a:gd name="connsiteY48" fmla="*/ 1219791 h 3341785"/>
                  <a:gd name="connsiteX49" fmla="*/ 198981 w 2408933"/>
                  <a:gd name="connsiteY49" fmla="*/ 1219791 h 3341785"/>
                  <a:gd name="connsiteX50" fmla="*/ 141237 w 2408933"/>
                  <a:gd name="connsiteY50" fmla="*/ 1162046 h 3341785"/>
                  <a:gd name="connsiteX51" fmla="*/ 198981 w 2408933"/>
                  <a:gd name="connsiteY51" fmla="*/ 1104302 h 3341785"/>
                  <a:gd name="connsiteX52" fmla="*/ 198981 w 2408933"/>
                  <a:gd name="connsiteY52" fmla="*/ 1301203 h 3341785"/>
                  <a:gd name="connsiteX53" fmla="*/ 655571 w 2408933"/>
                  <a:gd name="connsiteY53" fmla="*/ 1301203 h 3341785"/>
                  <a:gd name="connsiteX54" fmla="*/ 713316 w 2408933"/>
                  <a:gd name="connsiteY54" fmla="*/ 1358947 h 3341785"/>
                  <a:gd name="connsiteX55" fmla="*/ 655571 w 2408933"/>
                  <a:gd name="connsiteY55" fmla="*/ 1416691 h 3341785"/>
                  <a:gd name="connsiteX56" fmla="*/ 198981 w 2408933"/>
                  <a:gd name="connsiteY56" fmla="*/ 1416691 h 3341785"/>
                  <a:gd name="connsiteX57" fmla="*/ 141237 w 2408933"/>
                  <a:gd name="connsiteY57" fmla="*/ 1358947 h 3341785"/>
                  <a:gd name="connsiteX58" fmla="*/ 198981 w 2408933"/>
                  <a:gd name="connsiteY58" fmla="*/ 1301203 h 3341785"/>
                  <a:gd name="connsiteX59" fmla="*/ 1197163 w 2408933"/>
                  <a:gd name="connsiteY59" fmla="*/ 1798751 h 3341785"/>
                  <a:gd name="connsiteX60" fmla="*/ 1139419 w 2408933"/>
                  <a:gd name="connsiteY60" fmla="*/ 1856495 h 3341785"/>
                  <a:gd name="connsiteX61" fmla="*/ 1081674 w 2408933"/>
                  <a:gd name="connsiteY61" fmla="*/ 1798751 h 3341785"/>
                  <a:gd name="connsiteX62" fmla="*/ 1081674 w 2408933"/>
                  <a:gd name="connsiteY62" fmla="*/ 1759462 h 3341785"/>
                  <a:gd name="connsiteX63" fmla="*/ 748002 w 2408933"/>
                  <a:gd name="connsiteY63" fmla="*/ 2093134 h 3341785"/>
                  <a:gd name="connsiteX64" fmla="*/ 666594 w 2408933"/>
                  <a:gd name="connsiteY64" fmla="*/ 2093134 h 3341785"/>
                  <a:gd name="connsiteX65" fmla="*/ 529224 w 2408933"/>
                  <a:gd name="connsiteY65" fmla="*/ 1955765 h 3341785"/>
                  <a:gd name="connsiteX66" fmla="*/ 240053 w 2408933"/>
                  <a:gd name="connsiteY66" fmla="*/ 2244936 h 3341785"/>
                  <a:gd name="connsiteX67" fmla="*/ 199126 w 2408933"/>
                  <a:gd name="connsiteY67" fmla="*/ 2261605 h 3341785"/>
                  <a:gd name="connsiteX68" fmla="*/ 158199 w 2408933"/>
                  <a:gd name="connsiteY68" fmla="*/ 2244936 h 3341785"/>
                  <a:gd name="connsiteX69" fmla="*/ 158199 w 2408933"/>
                  <a:gd name="connsiteY69" fmla="*/ 2163528 h 3341785"/>
                  <a:gd name="connsiteX70" fmla="*/ 487851 w 2408933"/>
                  <a:gd name="connsiteY70" fmla="*/ 1833875 h 3341785"/>
                  <a:gd name="connsiteX71" fmla="*/ 569260 w 2408933"/>
                  <a:gd name="connsiteY71" fmla="*/ 1833875 h 3341785"/>
                  <a:gd name="connsiteX72" fmla="*/ 706629 w 2408933"/>
                  <a:gd name="connsiteY72" fmla="*/ 1971245 h 3341785"/>
                  <a:gd name="connsiteX73" fmla="*/ 1012024 w 2408933"/>
                  <a:gd name="connsiteY73" fmla="*/ 1665850 h 3341785"/>
                  <a:gd name="connsiteX74" fmla="*/ 947879 w 2408933"/>
                  <a:gd name="connsiteY74" fmla="*/ 1665850 h 3341785"/>
                  <a:gd name="connsiteX75" fmla="*/ 890134 w 2408933"/>
                  <a:gd name="connsiteY75" fmla="*/ 1608106 h 3341785"/>
                  <a:gd name="connsiteX76" fmla="*/ 947879 w 2408933"/>
                  <a:gd name="connsiteY76" fmla="*/ 1550361 h 3341785"/>
                  <a:gd name="connsiteX77" fmla="*/ 1138973 w 2408933"/>
                  <a:gd name="connsiteY77" fmla="*/ 1550361 h 3341785"/>
                  <a:gd name="connsiteX78" fmla="*/ 1196717 w 2408933"/>
                  <a:gd name="connsiteY78" fmla="*/ 1608106 h 3341785"/>
                  <a:gd name="connsiteX79" fmla="*/ 1196569 w 2408933"/>
                  <a:gd name="connsiteY79" fmla="*/ 1798754 h 3341785"/>
                  <a:gd name="connsiteX80" fmla="*/ 1273957 w 2408933"/>
                  <a:gd name="connsiteY80" fmla="*/ 626871 h 3341785"/>
                  <a:gd name="connsiteX81" fmla="*/ 1735768 w 2408933"/>
                  <a:gd name="connsiteY81" fmla="*/ 165061 h 3341785"/>
                  <a:gd name="connsiteX82" fmla="*/ 2197578 w 2408933"/>
                  <a:gd name="connsiteY82" fmla="*/ 626871 h 3341785"/>
                  <a:gd name="connsiteX83" fmla="*/ 1735768 w 2408933"/>
                  <a:gd name="connsiteY83" fmla="*/ 1088681 h 3341785"/>
                  <a:gd name="connsiteX84" fmla="*/ 1273957 w 2408933"/>
                  <a:gd name="connsiteY84" fmla="*/ 626871 h 334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408933" h="3341785">
                    <a:moveTo>
                      <a:pt x="1821203" y="1138969"/>
                    </a:moveTo>
                    <a:lnTo>
                      <a:pt x="2408934" y="1138969"/>
                    </a:lnTo>
                    <a:lnTo>
                      <a:pt x="2408785" y="117127"/>
                    </a:lnTo>
                    <a:cubicBezTo>
                      <a:pt x="2408785" y="52536"/>
                      <a:pt x="2356249" y="0"/>
                      <a:pt x="2291658" y="0"/>
                    </a:cubicBezTo>
                    <a:lnTo>
                      <a:pt x="769449" y="0"/>
                    </a:lnTo>
                    <a:lnTo>
                      <a:pt x="769449" y="536829"/>
                    </a:lnTo>
                    <a:cubicBezTo>
                      <a:pt x="769449" y="664971"/>
                      <a:pt x="664971" y="769449"/>
                      <a:pt x="536829" y="769449"/>
                    </a:cubicBezTo>
                    <a:lnTo>
                      <a:pt x="0" y="769449"/>
                    </a:lnTo>
                    <a:lnTo>
                      <a:pt x="0" y="2526049"/>
                    </a:lnTo>
                    <a:lnTo>
                      <a:pt x="92869" y="2557154"/>
                    </a:lnTo>
                    <a:cubicBezTo>
                      <a:pt x="190946" y="2323346"/>
                      <a:pt x="422521" y="2158285"/>
                      <a:pt x="692067" y="2158285"/>
                    </a:cubicBezTo>
                    <a:cubicBezTo>
                      <a:pt x="1049998" y="2158285"/>
                      <a:pt x="1341558" y="2449838"/>
                      <a:pt x="1341558" y="2807776"/>
                    </a:cubicBezTo>
                    <a:cubicBezTo>
                      <a:pt x="1341558" y="3028935"/>
                      <a:pt x="1230085" y="3224514"/>
                      <a:pt x="1061017" y="3341785"/>
                    </a:cubicBezTo>
                    <a:lnTo>
                      <a:pt x="1563746" y="3341785"/>
                    </a:lnTo>
                    <a:cubicBezTo>
                      <a:pt x="1508977" y="3280616"/>
                      <a:pt x="1474897" y="3199802"/>
                      <a:pt x="1474897" y="3110804"/>
                    </a:cubicBezTo>
                    <a:lnTo>
                      <a:pt x="1474748" y="1485306"/>
                    </a:lnTo>
                    <a:cubicBezTo>
                      <a:pt x="1474748" y="1294211"/>
                      <a:pt x="1630124" y="1138984"/>
                      <a:pt x="1821222" y="1138984"/>
                    </a:cubicBezTo>
                    <a:close/>
                    <a:moveTo>
                      <a:pt x="864702" y="907988"/>
                    </a:moveTo>
                    <a:lnTo>
                      <a:pt x="973200" y="907988"/>
                    </a:lnTo>
                    <a:cubicBezTo>
                      <a:pt x="1004899" y="907988"/>
                      <a:pt x="1030944" y="934033"/>
                      <a:pt x="1030944" y="965732"/>
                    </a:cubicBezTo>
                    <a:cubicBezTo>
                      <a:pt x="1030944" y="997431"/>
                      <a:pt x="1004899" y="1023476"/>
                      <a:pt x="973200" y="1023476"/>
                    </a:cubicBezTo>
                    <a:lnTo>
                      <a:pt x="864702" y="1023476"/>
                    </a:lnTo>
                    <a:cubicBezTo>
                      <a:pt x="833003" y="1023476"/>
                      <a:pt x="806958" y="997431"/>
                      <a:pt x="806958" y="965732"/>
                    </a:cubicBezTo>
                    <a:cubicBezTo>
                      <a:pt x="806958" y="934033"/>
                      <a:pt x="832855" y="907988"/>
                      <a:pt x="864702" y="907988"/>
                    </a:cubicBezTo>
                    <a:close/>
                    <a:moveTo>
                      <a:pt x="864702" y="1104290"/>
                    </a:moveTo>
                    <a:lnTo>
                      <a:pt x="973200" y="1104290"/>
                    </a:lnTo>
                    <a:cubicBezTo>
                      <a:pt x="1004899" y="1104290"/>
                      <a:pt x="1030944" y="1130336"/>
                      <a:pt x="1030944" y="1162035"/>
                    </a:cubicBezTo>
                    <a:cubicBezTo>
                      <a:pt x="1030944" y="1193734"/>
                      <a:pt x="1004899" y="1219779"/>
                      <a:pt x="973200" y="1219779"/>
                    </a:cubicBezTo>
                    <a:lnTo>
                      <a:pt x="864702" y="1219779"/>
                    </a:lnTo>
                    <a:cubicBezTo>
                      <a:pt x="833003" y="1219779"/>
                      <a:pt x="806958" y="1193734"/>
                      <a:pt x="806958" y="1162035"/>
                    </a:cubicBezTo>
                    <a:cubicBezTo>
                      <a:pt x="806958" y="1130336"/>
                      <a:pt x="832855" y="1104290"/>
                      <a:pt x="864702" y="1104290"/>
                    </a:cubicBezTo>
                    <a:close/>
                    <a:moveTo>
                      <a:pt x="864702" y="1301191"/>
                    </a:moveTo>
                    <a:lnTo>
                      <a:pt x="973200" y="1301191"/>
                    </a:lnTo>
                    <a:cubicBezTo>
                      <a:pt x="1004899" y="1301191"/>
                      <a:pt x="1030944" y="1327236"/>
                      <a:pt x="1030944" y="1358936"/>
                    </a:cubicBezTo>
                    <a:cubicBezTo>
                      <a:pt x="1030944" y="1390635"/>
                      <a:pt x="1004899" y="1416680"/>
                      <a:pt x="973200" y="1416680"/>
                    </a:cubicBezTo>
                    <a:lnTo>
                      <a:pt x="864702" y="1416680"/>
                    </a:lnTo>
                    <a:cubicBezTo>
                      <a:pt x="833003" y="1416680"/>
                      <a:pt x="806958" y="1390635"/>
                      <a:pt x="806958" y="1358936"/>
                    </a:cubicBezTo>
                    <a:cubicBezTo>
                      <a:pt x="806958" y="1327088"/>
                      <a:pt x="832855" y="1301191"/>
                      <a:pt x="864702" y="1301191"/>
                    </a:cubicBezTo>
                    <a:close/>
                    <a:moveTo>
                      <a:pt x="198981" y="907999"/>
                    </a:moveTo>
                    <a:lnTo>
                      <a:pt x="655571" y="907999"/>
                    </a:lnTo>
                    <a:cubicBezTo>
                      <a:pt x="687271" y="907999"/>
                      <a:pt x="713316" y="934044"/>
                      <a:pt x="713316" y="965744"/>
                    </a:cubicBezTo>
                    <a:cubicBezTo>
                      <a:pt x="713316" y="997443"/>
                      <a:pt x="687271" y="1023488"/>
                      <a:pt x="655571" y="1023488"/>
                    </a:cubicBezTo>
                    <a:lnTo>
                      <a:pt x="198981" y="1023488"/>
                    </a:lnTo>
                    <a:cubicBezTo>
                      <a:pt x="167282" y="1023488"/>
                      <a:pt x="141237" y="997443"/>
                      <a:pt x="141237" y="965744"/>
                    </a:cubicBezTo>
                    <a:cubicBezTo>
                      <a:pt x="141237" y="934044"/>
                      <a:pt x="167282" y="907999"/>
                      <a:pt x="198981" y="907999"/>
                    </a:cubicBezTo>
                    <a:close/>
                    <a:moveTo>
                      <a:pt x="198981" y="1104302"/>
                    </a:moveTo>
                    <a:lnTo>
                      <a:pt x="655571" y="1104302"/>
                    </a:lnTo>
                    <a:cubicBezTo>
                      <a:pt x="687271" y="1104302"/>
                      <a:pt x="713316" y="1130347"/>
                      <a:pt x="713316" y="1162046"/>
                    </a:cubicBezTo>
                    <a:cubicBezTo>
                      <a:pt x="713316" y="1193745"/>
                      <a:pt x="687271" y="1219791"/>
                      <a:pt x="655571" y="1219791"/>
                    </a:cubicBezTo>
                    <a:lnTo>
                      <a:pt x="198981" y="1219791"/>
                    </a:lnTo>
                    <a:cubicBezTo>
                      <a:pt x="167282" y="1219791"/>
                      <a:pt x="141237" y="1193745"/>
                      <a:pt x="141237" y="1162046"/>
                    </a:cubicBezTo>
                    <a:cubicBezTo>
                      <a:pt x="141237" y="1130347"/>
                      <a:pt x="167282" y="1104302"/>
                      <a:pt x="198981" y="1104302"/>
                    </a:cubicBezTo>
                    <a:close/>
                    <a:moveTo>
                      <a:pt x="198981" y="1301203"/>
                    </a:moveTo>
                    <a:lnTo>
                      <a:pt x="655571" y="1301203"/>
                    </a:lnTo>
                    <a:cubicBezTo>
                      <a:pt x="687271" y="1301203"/>
                      <a:pt x="713316" y="1327248"/>
                      <a:pt x="713316" y="1358947"/>
                    </a:cubicBezTo>
                    <a:cubicBezTo>
                      <a:pt x="713316" y="1390646"/>
                      <a:pt x="687271" y="1416691"/>
                      <a:pt x="655571" y="1416691"/>
                    </a:cubicBezTo>
                    <a:lnTo>
                      <a:pt x="198981" y="1416691"/>
                    </a:lnTo>
                    <a:cubicBezTo>
                      <a:pt x="167282" y="1416691"/>
                      <a:pt x="141237" y="1390646"/>
                      <a:pt x="141237" y="1358947"/>
                    </a:cubicBezTo>
                    <a:cubicBezTo>
                      <a:pt x="141237" y="1327099"/>
                      <a:pt x="167282" y="1301203"/>
                      <a:pt x="198981" y="1301203"/>
                    </a:cubicBezTo>
                    <a:close/>
                    <a:moveTo>
                      <a:pt x="1197163" y="1798751"/>
                    </a:moveTo>
                    <a:cubicBezTo>
                      <a:pt x="1197163" y="1830450"/>
                      <a:pt x="1171118" y="1856495"/>
                      <a:pt x="1139419" y="1856495"/>
                    </a:cubicBezTo>
                    <a:cubicBezTo>
                      <a:pt x="1107720" y="1856495"/>
                      <a:pt x="1081674" y="1830450"/>
                      <a:pt x="1081674" y="1798751"/>
                    </a:cubicBezTo>
                    <a:lnTo>
                      <a:pt x="1081674" y="1759462"/>
                    </a:lnTo>
                    <a:lnTo>
                      <a:pt x="748002" y="2093134"/>
                    </a:lnTo>
                    <a:cubicBezTo>
                      <a:pt x="725531" y="2115606"/>
                      <a:pt x="689065" y="2115606"/>
                      <a:pt x="666594" y="2093134"/>
                    </a:cubicBezTo>
                    <a:lnTo>
                      <a:pt x="529224" y="1955765"/>
                    </a:lnTo>
                    <a:lnTo>
                      <a:pt x="240053" y="2244936"/>
                    </a:lnTo>
                    <a:cubicBezTo>
                      <a:pt x="228444" y="2256545"/>
                      <a:pt x="214008" y="2261605"/>
                      <a:pt x="199126" y="2261605"/>
                    </a:cubicBezTo>
                    <a:cubicBezTo>
                      <a:pt x="184095" y="2261605"/>
                      <a:pt x="169659" y="2255802"/>
                      <a:pt x="158199" y="2244936"/>
                    </a:cubicBezTo>
                    <a:cubicBezTo>
                      <a:pt x="135727" y="2222465"/>
                      <a:pt x="135727" y="2185999"/>
                      <a:pt x="158199" y="2163528"/>
                    </a:cubicBezTo>
                    <a:lnTo>
                      <a:pt x="487851" y="1833875"/>
                    </a:lnTo>
                    <a:cubicBezTo>
                      <a:pt x="510323" y="1811404"/>
                      <a:pt x="546788" y="1811404"/>
                      <a:pt x="569260" y="1833875"/>
                    </a:cubicBezTo>
                    <a:lnTo>
                      <a:pt x="706629" y="1971245"/>
                    </a:lnTo>
                    <a:lnTo>
                      <a:pt x="1012024" y="1665850"/>
                    </a:lnTo>
                    <a:lnTo>
                      <a:pt x="947879" y="1665850"/>
                    </a:lnTo>
                    <a:cubicBezTo>
                      <a:pt x="916179" y="1665850"/>
                      <a:pt x="890134" y="1639805"/>
                      <a:pt x="890134" y="1608106"/>
                    </a:cubicBezTo>
                    <a:cubicBezTo>
                      <a:pt x="890134" y="1576407"/>
                      <a:pt x="916179" y="1550361"/>
                      <a:pt x="947879" y="1550361"/>
                    </a:cubicBezTo>
                    <a:lnTo>
                      <a:pt x="1138973" y="1550361"/>
                    </a:lnTo>
                    <a:cubicBezTo>
                      <a:pt x="1170672" y="1550361"/>
                      <a:pt x="1196717" y="1576407"/>
                      <a:pt x="1196717" y="1608106"/>
                    </a:cubicBezTo>
                    <a:lnTo>
                      <a:pt x="1196569" y="1798754"/>
                    </a:lnTo>
                    <a:close/>
                    <a:moveTo>
                      <a:pt x="1273957" y="626871"/>
                    </a:moveTo>
                    <a:cubicBezTo>
                      <a:pt x="1273957" y="372226"/>
                      <a:pt x="1481126" y="165061"/>
                      <a:pt x="1735768" y="165061"/>
                    </a:cubicBezTo>
                    <a:cubicBezTo>
                      <a:pt x="1990413" y="165061"/>
                      <a:pt x="2197578" y="372229"/>
                      <a:pt x="2197578" y="626871"/>
                    </a:cubicBezTo>
                    <a:cubicBezTo>
                      <a:pt x="2197578" y="881512"/>
                      <a:pt x="1990409" y="1088681"/>
                      <a:pt x="1735768" y="1088681"/>
                    </a:cubicBezTo>
                    <a:cubicBezTo>
                      <a:pt x="1481122" y="1088681"/>
                      <a:pt x="1273957" y="881512"/>
                      <a:pt x="1273957" y="62687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19B9F32-844D-1864-9D95-2647DB5F68EE}"/>
                  </a:ext>
                </a:extLst>
              </p:cNvPr>
              <p:cNvSpPr/>
              <p:nvPr/>
            </p:nvSpPr>
            <p:spPr>
              <a:xfrm>
                <a:off x="7294567" y="-11690474"/>
                <a:ext cx="349300" cy="292748"/>
              </a:xfrm>
              <a:custGeom>
                <a:avLst/>
                <a:gdLst>
                  <a:gd name="connsiteX0" fmla="*/ 53728 w 349300"/>
                  <a:gd name="connsiteY0" fmla="*/ 292745 h 292748"/>
                  <a:gd name="connsiteX1" fmla="*/ 339478 w 349300"/>
                  <a:gd name="connsiteY1" fmla="*/ 292745 h 292748"/>
                  <a:gd name="connsiteX2" fmla="*/ 326829 w 349300"/>
                  <a:gd name="connsiteY2" fmla="*/ 166836 h 292748"/>
                  <a:gd name="connsiteX3" fmla="*/ 349300 w 349300"/>
                  <a:gd name="connsiteY3" fmla="*/ 0 h 292748"/>
                  <a:gd name="connsiteX4" fmla="*/ 53729 w 349300"/>
                  <a:gd name="connsiteY4" fmla="*/ 0 h 292748"/>
                  <a:gd name="connsiteX5" fmla="*/ 0 w 349300"/>
                  <a:gd name="connsiteY5" fmla="*/ 53729 h 292748"/>
                  <a:gd name="connsiteX6" fmla="*/ 0 w 349300"/>
                  <a:gd name="connsiteY6" fmla="*/ 238426 h 292748"/>
                  <a:gd name="connsiteX7" fmla="*/ 53729 w 349300"/>
                  <a:gd name="connsiteY7" fmla="*/ 292749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300" h="292748">
                    <a:moveTo>
                      <a:pt x="53728" y="292745"/>
                    </a:moveTo>
                    <a:lnTo>
                      <a:pt x="339478" y="292745"/>
                    </a:lnTo>
                    <a:cubicBezTo>
                      <a:pt x="331443" y="251818"/>
                      <a:pt x="326829" y="209550"/>
                      <a:pt x="326829" y="166836"/>
                    </a:cubicBezTo>
                    <a:cubicBezTo>
                      <a:pt x="326829" y="109092"/>
                      <a:pt x="334864" y="53725"/>
                      <a:pt x="349300" y="0"/>
                    </a:cubicBezTo>
                    <a:lnTo>
                      <a:pt x="53729" y="0"/>
                    </a:lnTo>
                    <a:cubicBezTo>
                      <a:pt x="23665" y="0"/>
                      <a:pt x="0" y="23664"/>
                      <a:pt x="0" y="53729"/>
                    </a:cubicBezTo>
                    <a:lnTo>
                      <a:pt x="0" y="238426"/>
                    </a:lnTo>
                    <a:cubicBezTo>
                      <a:pt x="0" y="268491"/>
                      <a:pt x="23664" y="292749"/>
                      <a:pt x="53729" y="292749"/>
                    </a:cubicBezTo>
                    <a:close/>
                  </a:path>
                </a:pathLst>
              </a:custGeom>
              <a:grpFill/>
              <a:ln w="38100" cap="flat">
                <a:noFill/>
                <a:prstDash val="solid"/>
                <a:miter/>
              </a:ln>
            </p:spPr>
            <p:txBody>
              <a:bodyPr rtlCol="0" anchor="ctr"/>
              <a:lstStyle/>
              <a:p>
                <a:endParaRPr lang="en-US"/>
              </a:p>
            </p:txBody>
          </p:sp>
        </p:grpSp>
      </p:grpSp>
      <p:grpSp>
        <p:nvGrpSpPr>
          <p:cNvPr id="35" name="Group 34">
            <a:extLst>
              <a:ext uri="{FF2B5EF4-FFF2-40B4-BE49-F238E27FC236}">
                <a16:creationId xmlns:a16="http://schemas.microsoft.com/office/drawing/2014/main" id="{489E981E-7D55-3A03-277D-AF90E89AE6EE}"/>
              </a:ext>
            </a:extLst>
          </p:cNvPr>
          <p:cNvGrpSpPr/>
          <p:nvPr/>
        </p:nvGrpSpPr>
        <p:grpSpPr>
          <a:xfrm>
            <a:off x="9543738" y="1223148"/>
            <a:ext cx="763802" cy="763802"/>
            <a:chOff x="9543738" y="1248548"/>
            <a:chExt cx="763802" cy="763802"/>
          </a:xfrm>
        </p:grpSpPr>
        <p:grpSp>
          <p:nvGrpSpPr>
            <p:cNvPr id="77" name="Group 76">
              <a:extLst>
                <a:ext uri="{FF2B5EF4-FFF2-40B4-BE49-F238E27FC236}">
                  <a16:creationId xmlns:a16="http://schemas.microsoft.com/office/drawing/2014/main" id="{B40DE9C6-F1E9-F8BD-C20F-385541739CE6}"/>
                </a:ext>
              </a:extLst>
            </p:cNvPr>
            <p:cNvGrpSpPr/>
            <p:nvPr/>
          </p:nvGrpSpPr>
          <p:grpSpPr>
            <a:xfrm>
              <a:off x="9543738" y="1248548"/>
              <a:ext cx="763802" cy="763802"/>
              <a:chOff x="1181289" y="2865536"/>
              <a:chExt cx="1024128" cy="1023806"/>
            </a:xfrm>
          </p:grpSpPr>
          <p:pic>
            <p:nvPicPr>
              <p:cNvPr id="81" name="Picture 80" descr="A picture containing shape&#10;&#10;Description automatically generated">
                <a:extLst>
                  <a:ext uri="{FF2B5EF4-FFF2-40B4-BE49-F238E27FC236}">
                    <a16:creationId xmlns:a16="http://schemas.microsoft.com/office/drawing/2014/main" id="{2508D74B-F324-795C-9304-644FE647925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82" name="Oval 81">
                <a:extLst>
                  <a:ext uri="{FF2B5EF4-FFF2-40B4-BE49-F238E27FC236}">
                    <a16:creationId xmlns:a16="http://schemas.microsoft.com/office/drawing/2014/main" id="{C3B650D3-2A5A-70EE-AE1D-CCB92F330010}"/>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Graphic 38">
              <a:extLst>
                <a:ext uri="{FF2B5EF4-FFF2-40B4-BE49-F238E27FC236}">
                  <a16:creationId xmlns:a16="http://schemas.microsoft.com/office/drawing/2014/main" id="{E2642661-5EAC-3E3A-094B-C58A9317D095}"/>
                </a:ext>
              </a:extLst>
            </p:cNvPr>
            <p:cNvSpPr/>
            <p:nvPr/>
          </p:nvSpPr>
          <p:spPr>
            <a:xfrm>
              <a:off x="9726908" y="1449779"/>
              <a:ext cx="397462" cy="361340"/>
            </a:xfrm>
            <a:custGeom>
              <a:avLst/>
              <a:gdLst>
                <a:gd name="connsiteX0" fmla="*/ 1031580 w 1540319"/>
                <a:gd name="connsiteY0" fmla="*/ 208659 h 1400338"/>
                <a:gd name="connsiteX1" fmla="*/ 851210 w 1540319"/>
                <a:gd name="connsiteY1" fmla="*/ 208659 h 1400338"/>
                <a:gd name="connsiteX2" fmla="*/ 851210 w 1540319"/>
                <a:gd name="connsiteY2" fmla="*/ 28289 h 1400338"/>
                <a:gd name="connsiteX3" fmla="*/ 1220220 w 1540319"/>
                <a:gd name="connsiteY3" fmla="*/ 1019486 h 1400338"/>
                <a:gd name="connsiteX4" fmla="*/ 1159569 w 1540319"/>
                <a:gd name="connsiteY4" fmla="*/ 1080137 h 1400338"/>
                <a:gd name="connsiteX5" fmla="*/ 1139640 w 1540319"/>
                <a:gd name="connsiteY5" fmla="*/ 1088123 h 1400338"/>
                <a:gd name="connsiteX6" fmla="*/ 1119783 w 1540319"/>
                <a:gd name="connsiteY6" fmla="*/ 1080137 h 1400338"/>
                <a:gd name="connsiteX7" fmla="*/ 1070861 w 1540319"/>
                <a:gd name="connsiteY7" fmla="*/ 1031214 h 1400338"/>
                <a:gd name="connsiteX8" fmla="*/ 1058414 w 1540319"/>
                <a:gd name="connsiteY8" fmla="*/ 1038841 h 1400338"/>
                <a:gd name="connsiteX9" fmla="*/ 869553 w 1540319"/>
                <a:gd name="connsiteY9" fmla="*/ 1092152 h 1400338"/>
                <a:gd name="connsiteX10" fmla="*/ 613502 w 1540319"/>
                <a:gd name="connsiteY10" fmla="*/ 985673 h 1400338"/>
                <a:gd name="connsiteX11" fmla="*/ 507382 w 1540319"/>
                <a:gd name="connsiteY11" fmla="*/ 729548 h 1400338"/>
                <a:gd name="connsiteX12" fmla="*/ 613502 w 1540319"/>
                <a:gd name="connsiteY12" fmla="*/ 473424 h 1400338"/>
                <a:gd name="connsiteX13" fmla="*/ 869627 w 1540319"/>
                <a:gd name="connsiteY13" fmla="*/ 367304 h 1400338"/>
                <a:gd name="connsiteX14" fmla="*/ 1125751 w 1540319"/>
                <a:gd name="connsiteY14" fmla="*/ 473424 h 1400338"/>
                <a:gd name="connsiteX15" fmla="*/ 1178847 w 1540319"/>
                <a:gd name="connsiteY15" fmla="*/ 918262 h 1400338"/>
                <a:gd name="connsiteX16" fmla="*/ 1171221 w 1540319"/>
                <a:gd name="connsiteY16" fmla="*/ 930709 h 1400338"/>
                <a:gd name="connsiteX17" fmla="*/ 1220144 w 1540319"/>
                <a:gd name="connsiteY17" fmla="*/ 979631 h 1400338"/>
                <a:gd name="connsiteX18" fmla="*/ 1228345 w 1540319"/>
                <a:gd name="connsiteY18" fmla="*/ 999488 h 1400338"/>
                <a:gd name="connsiteX19" fmla="*/ 1220215 w 1540319"/>
                <a:gd name="connsiteY19" fmla="*/ 1019488 h 1400338"/>
                <a:gd name="connsiteX20" fmla="*/ 1073233 w 1540319"/>
                <a:gd name="connsiteY20" fmla="*/ 526005 h 1400338"/>
                <a:gd name="connsiteX21" fmla="*/ 869693 w 1540319"/>
                <a:gd name="connsiteY21" fmla="*/ 441828 h 1400338"/>
                <a:gd name="connsiteX22" fmla="*/ 666153 w 1540319"/>
                <a:gd name="connsiteY22" fmla="*/ 526005 h 1400338"/>
                <a:gd name="connsiteX23" fmla="*/ 666153 w 1540319"/>
                <a:gd name="connsiteY23" fmla="*/ 933086 h 1400338"/>
                <a:gd name="connsiteX24" fmla="*/ 869693 w 1540319"/>
                <a:gd name="connsiteY24" fmla="*/ 1017263 h 1400338"/>
                <a:gd name="connsiteX25" fmla="*/ 1073233 w 1540319"/>
                <a:gd name="connsiteY25" fmla="*/ 933086 h 1400338"/>
                <a:gd name="connsiteX26" fmla="*/ 1073233 w 1540319"/>
                <a:gd name="connsiteY26" fmla="*/ 526005 h 1400338"/>
                <a:gd name="connsiteX27" fmla="*/ 1048195 w 1540319"/>
                <a:gd name="connsiteY27" fmla="*/ 1086749 h 1400338"/>
                <a:gd name="connsiteX28" fmla="*/ 1057764 w 1540319"/>
                <a:gd name="connsiteY28" fmla="*/ 1081929 h 1400338"/>
                <a:gd name="connsiteX29" fmla="*/ 1057764 w 1540319"/>
                <a:gd name="connsiteY29" fmla="*/ 1386401 h 1400338"/>
                <a:gd name="connsiteX30" fmla="*/ 1044022 w 1540319"/>
                <a:gd name="connsiteY30" fmla="*/ 1400215 h 1400338"/>
                <a:gd name="connsiteX31" fmla="*/ 13742 w 1540319"/>
                <a:gd name="connsiteY31" fmla="*/ 1400215 h 1400338"/>
                <a:gd name="connsiteX32" fmla="*/ 0 w 1540319"/>
                <a:gd name="connsiteY32" fmla="*/ 1386473 h 1400338"/>
                <a:gd name="connsiteX33" fmla="*/ 0 w 1540319"/>
                <a:gd name="connsiteY33" fmla="*/ 13742 h 1400338"/>
                <a:gd name="connsiteX34" fmla="*/ 13742 w 1540319"/>
                <a:gd name="connsiteY34" fmla="*/ 0 h 1400338"/>
                <a:gd name="connsiteX35" fmla="*/ 814144 w 1540319"/>
                <a:gd name="connsiteY35" fmla="*/ 0 h 1400338"/>
                <a:gd name="connsiteX36" fmla="*/ 814144 w 1540319"/>
                <a:gd name="connsiteY36" fmla="*/ 226342 h 1400338"/>
                <a:gd name="connsiteX37" fmla="*/ 831411 w 1540319"/>
                <a:gd name="connsiteY37" fmla="*/ 243609 h 1400338"/>
                <a:gd name="connsiteX38" fmla="*/ 1057753 w 1540319"/>
                <a:gd name="connsiteY38" fmla="*/ 243609 h 1400338"/>
                <a:gd name="connsiteX39" fmla="*/ 1057753 w 1540319"/>
                <a:gd name="connsiteY39" fmla="*/ 377213 h 1400338"/>
                <a:gd name="connsiteX40" fmla="*/ 1048184 w 1540319"/>
                <a:gd name="connsiteY40" fmla="*/ 372393 h 1400338"/>
                <a:gd name="connsiteX41" fmla="*/ 869614 w 1540319"/>
                <a:gd name="connsiteY41" fmla="*/ 330449 h 1400338"/>
                <a:gd name="connsiteX42" fmla="*/ 587372 w 1540319"/>
                <a:gd name="connsiteY42" fmla="*/ 447363 h 1400338"/>
                <a:gd name="connsiteX43" fmla="*/ 470459 w 1540319"/>
                <a:gd name="connsiteY43" fmla="*/ 729678 h 1400338"/>
                <a:gd name="connsiteX44" fmla="*/ 587372 w 1540319"/>
                <a:gd name="connsiteY44" fmla="*/ 1011919 h 1400338"/>
                <a:gd name="connsiteX45" fmla="*/ 1048197 w 1540319"/>
                <a:gd name="connsiteY45" fmla="*/ 1086743 h 1400338"/>
                <a:gd name="connsiteX46" fmla="*/ 162682 w 1540319"/>
                <a:gd name="connsiteY46" fmla="*/ 248866 h 1400338"/>
                <a:gd name="connsiteX47" fmla="*/ 617742 w 1540319"/>
                <a:gd name="connsiteY47" fmla="*/ 248866 h 1400338"/>
                <a:gd name="connsiteX48" fmla="*/ 636304 w 1540319"/>
                <a:gd name="connsiteY48" fmla="*/ 230304 h 1400338"/>
                <a:gd name="connsiteX49" fmla="*/ 617742 w 1540319"/>
                <a:gd name="connsiteY49" fmla="*/ 211742 h 1400338"/>
                <a:gd name="connsiteX50" fmla="*/ 162682 w 1540319"/>
                <a:gd name="connsiteY50" fmla="*/ 211814 h 1400338"/>
                <a:gd name="connsiteX51" fmla="*/ 144120 w 1540319"/>
                <a:gd name="connsiteY51" fmla="*/ 230376 h 1400338"/>
                <a:gd name="connsiteX52" fmla="*/ 162682 w 1540319"/>
                <a:gd name="connsiteY52" fmla="*/ 248866 h 1400338"/>
                <a:gd name="connsiteX53" fmla="*/ 144120 w 1540319"/>
                <a:gd name="connsiteY53" fmla="*/ 477215 h 1400338"/>
                <a:gd name="connsiteX54" fmla="*/ 162682 w 1540319"/>
                <a:gd name="connsiteY54" fmla="*/ 495777 h 1400338"/>
                <a:gd name="connsiteX55" fmla="*/ 431478 w 1540319"/>
                <a:gd name="connsiteY55" fmla="*/ 495777 h 1400338"/>
                <a:gd name="connsiteX56" fmla="*/ 450040 w 1540319"/>
                <a:gd name="connsiteY56" fmla="*/ 477215 h 1400338"/>
                <a:gd name="connsiteX57" fmla="*/ 431478 w 1540319"/>
                <a:gd name="connsiteY57" fmla="*/ 458653 h 1400338"/>
                <a:gd name="connsiteX58" fmla="*/ 162682 w 1540319"/>
                <a:gd name="connsiteY58" fmla="*/ 458653 h 1400338"/>
                <a:gd name="connsiteX59" fmla="*/ 144120 w 1540319"/>
                <a:gd name="connsiteY59" fmla="*/ 477215 h 1400338"/>
                <a:gd name="connsiteX60" fmla="*/ 144120 w 1540319"/>
                <a:gd name="connsiteY60" fmla="*/ 724057 h 1400338"/>
                <a:gd name="connsiteX61" fmla="*/ 162682 w 1540319"/>
                <a:gd name="connsiteY61" fmla="*/ 742619 h 1400338"/>
                <a:gd name="connsiteX62" fmla="*/ 376223 w 1540319"/>
                <a:gd name="connsiteY62" fmla="*/ 742619 h 1400338"/>
                <a:gd name="connsiteX63" fmla="*/ 394785 w 1540319"/>
                <a:gd name="connsiteY63" fmla="*/ 724057 h 1400338"/>
                <a:gd name="connsiteX64" fmla="*/ 376223 w 1540319"/>
                <a:gd name="connsiteY64" fmla="*/ 705495 h 1400338"/>
                <a:gd name="connsiteX65" fmla="*/ 162682 w 1540319"/>
                <a:gd name="connsiteY65" fmla="*/ 705495 h 1400338"/>
                <a:gd name="connsiteX66" fmla="*/ 144120 w 1540319"/>
                <a:gd name="connsiteY66" fmla="*/ 724057 h 1400338"/>
                <a:gd name="connsiteX67" fmla="*/ 144120 w 1540319"/>
                <a:gd name="connsiteY67" fmla="*/ 970898 h 1400338"/>
                <a:gd name="connsiteX68" fmla="*/ 162682 w 1540319"/>
                <a:gd name="connsiteY68" fmla="*/ 989460 h 1400338"/>
                <a:gd name="connsiteX69" fmla="*/ 428605 w 1540319"/>
                <a:gd name="connsiteY69" fmla="*/ 989460 h 1400338"/>
                <a:gd name="connsiteX70" fmla="*/ 447167 w 1540319"/>
                <a:gd name="connsiteY70" fmla="*/ 970898 h 1400338"/>
                <a:gd name="connsiteX71" fmla="*/ 428605 w 1540319"/>
                <a:gd name="connsiteY71" fmla="*/ 952336 h 1400338"/>
                <a:gd name="connsiteX72" fmla="*/ 162682 w 1540319"/>
                <a:gd name="connsiteY72" fmla="*/ 952336 h 1400338"/>
                <a:gd name="connsiteX73" fmla="*/ 144120 w 1540319"/>
                <a:gd name="connsiteY73" fmla="*/ 970898 h 1400338"/>
                <a:gd name="connsiteX74" fmla="*/ 892509 w 1540319"/>
                <a:gd name="connsiteY74" fmla="*/ 1199248 h 1400338"/>
                <a:gd name="connsiteX75" fmla="*/ 162686 w 1540319"/>
                <a:gd name="connsiteY75" fmla="*/ 1199248 h 1400338"/>
                <a:gd name="connsiteX76" fmla="*/ 144124 w 1540319"/>
                <a:gd name="connsiteY76" fmla="*/ 1217810 h 1400338"/>
                <a:gd name="connsiteX77" fmla="*/ 162686 w 1540319"/>
                <a:gd name="connsiteY77" fmla="*/ 1236372 h 1400338"/>
                <a:gd name="connsiteX78" fmla="*/ 892509 w 1540319"/>
                <a:gd name="connsiteY78" fmla="*/ 1236300 h 1400338"/>
                <a:gd name="connsiteX79" fmla="*/ 911071 w 1540319"/>
                <a:gd name="connsiteY79" fmla="*/ 1217738 h 1400338"/>
                <a:gd name="connsiteX80" fmla="*/ 892509 w 1540319"/>
                <a:gd name="connsiteY80" fmla="*/ 1199248 h 1400338"/>
                <a:gd name="connsiteX81" fmla="*/ 1537370 w 1540319"/>
                <a:gd name="connsiteY81" fmla="*/ 1320910 h 1400338"/>
                <a:gd name="connsiteX82" fmla="*/ 1373548 w 1540319"/>
                <a:gd name="connsiteY82" fmla="*/ 1157089 h 1400338"/>
                <a:gd name="connsiteX83" fmla="*/ 1335417 w 1540319"/>
                <a:gd name="connsiteY83" fmla="*/ 1141332 h 1400338"/>
                <a:gd name="connsiteX84" fmla="*/ 1297286 w 1540319"/>
                <a:gd name="connsiteY84" fmla="*/ 1157089 h 1400338"/>
                <a:gd name="connsiteX85" fmla="*/ 1281529 w 1540319"/>
                <a:gd name="connsiteY85" fmla="*/ 1195220 h 1400338"/>
                <a:gd name="connsiteX86" fmla="*/ 1297214 w 1540319"/>
                <a:gd name="connsiteY86" fmla="*/ 1233351 h 1400338"/>
                <a:gd name="connsiteX87" fmla="*/ 1461035 w 1540319"/>
                <a:gd name="connsiteY87" fmla="*/ 1397172 h 1400338"/>
                <a:gd name="connsiteX88" fmla="*/ 1468158 w 1540319"/>
                <a:gd name="connsiteY88" fmla="*/ 1400338 h 1400338"/>
                <a:gd name="connsiteX89" fmla="*/ 1475280 w 1540319"/>
                <a:gd name="connsiteY89" fmla="*/ 1397172 h 1400338"/>
                <a:gd name="connsiteX90" fmla="*/ 1537298 w 1540319"/>
                <a:gd name="connsiteY90" fmla="*/ 1335083 h 1400338"/>
                <a:gd name="connsiteX91" fmla="*/ 1540320 w 1540319"/>
                <a:gd name="connsiteY91" fmla="*/ 1327960 h 1400338"/>
                <a:gd name="connsiteX92" fmla="*/ 1537370 w 1540319"/>
                <a:gd name="connsiteY92" fmla="*/ 1320909 h 1400338"/>
                <a:gd name="connsiteX93" fmla="*/ 1287065 w 1540319"/>
                <a:gd name="connsiteY93" fmla="*/ 1116946 h 1400338"/>
                <a:gd name="connsiteX94" fmla="*/ 1293181 w 1540319"/>
                <a:gd name="connsiteY94" fmla="*/ 1112341 h 1400338"/>
                <a:gd name="connsiteX95" fmla="*/ 1236487 w 1540319"/>
                <a:gd name="connsiteY95" fmla="*/ 1055720 h 1400338"/>
                <a:gd name="connsiteX96" fmla="*/ 1195838 w 1540319"/>
                <a:gd name="connsiteY96" fmla="*/ 1096369 h 1400338"/>
                <a:gd name="connsiteX97" fmla="*/ 1252460 w 1540319"/>
                <a:gd name="connsiteY97" fmla="*/ 1152991 h 1400338"/>
                <a:gd name="connsiteX98" fmla="*/ 1257064 w 1540319"/>
                <a:gd name="connsiteY98" fmla="*/ 1146947 h 1400338"/>
                <a:gd name="connsiteX99" fmla="*/ 1260662 w 1540319"/>
                <a:gd name="connsiteY99" fmla="*/ 1142774 h 1400338"/>
                <a:gd name="connsiteX100" fmla="*/ 1263396 w 1540319"/>
                <a:gd name="connsiteY100" fmla="*/ 1139608 h 1400338"/>
                <a:gd name="connsiteX101" fmla="*/ 1270950 w 1540319"/>
                <a:gd name="connsiteY101" fmla="*/ 1130903 h 1400338"/>
                <a:gd name="connsiteX102" fmla="*/ 1279943 w 1540319"/>
                <a:gd name="connsiteY102" fmla="*/ 1123132 h 1400338"/>
                <a:gd name="connsiteX103" fmla="*/ 1282749 w 1540319"/>
                <a:gd name="connsiteY103" fmla="*/ 1120686 h 1400338"/>
                <a:gd name="connsiteX104" fmla="*/ 1287066 w 1540319"/>
                <a:gd name="connsiteY104" fmla="*/ 1116945 h 14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540319" h="1400338">
                  <a:moveTo>
                    <a:pt x="1031580" y="208659"/>
                  </a:moveTo>
                  <a:lnTo>
                    <a:pt x="851210" y="208659"/>
                  </a:lnTo>
                  <a:lnTo>
                    <a:pt x="851210" y="28289"/>
                  </a:lnTo>
                  <a:close/>
                  <a:moveTo>
                    <a:pt x="1220220" y="1019486"/>
                  </a:moveTo>
                  <a:lnTo>
                    <a:pt x="1159569" y="1080137"/>
                  </a:lnTo>
                  <a:cubicBezTo>
                    <a:pt x="1154460" y="1085245"/>
                    <a:pt x="1147266" y="1088123"/>
                    <a:pt x="1139640" y="1088123"/>
                  </a:cubicBezTo>
                  <a:cubicBezTo>
                    <a:pt x="1132086" y="1088123"/>
                    <a:pt x="1124819" y="1085245"/>
                    <a:pt x="1119783" y="1080137"/>
                  </a:cubicBezTo>
                  <a:lnTo>
                    <a:pt x="1070861" y="1031214"/>
                  </a:lnTo>
                  <a:lnTo>
                    <a:pt x="1058414" y="1038841"/>
                  </a:lnTo>
                  <a:cubicBezTo>
                    <a:pt x="999778" y="1074670"/>
                    <a:pt x="934450" y="1092152"/>
                    <a:pt x="869553" y="1092152"/>
                  </a:cubicBezTo>
                  <a:cubicBezTo>
                    <a:pt x="776095" y="1092152"/>
                    <a:pt x="683639" y="1055819"/>
                    <a:pt x="613502" y="985673"/>
                  </a:cubicBezTo>
                  <a:cubicBezTo>
                    <a:pt x="545082" y="917253"/>
                    <a:pt x="507382" y="826241"/>
                    <a:pt x="507382" y="729548"/>
                  </a:cubicBezTo>
                  <a:cubicBezTo>
                    <a:pt x="507382" y="632781"/>
                    <a:pt x="545082" y="541774"/>
                    <a:pt x="613502" y="473424"/>
                  </a:cubicBezTo>
                  <a:cubicBezTo>
                    <a:pt x="681923" y="405004"/>
                    <a:pt x="772863" y="367304"/>
                    <a:pt x="869627" y="367304"/>
                  </a:cubicBezTo>
                  <a:cubicBezTo>
                    <a:pt x="966391" y="367304"/>
                    <a:pt x="1057327" y="405004"/>
                    <a:pt x="1125751" y="473424"/>
                  </a:cubicBezTo>
                  <a:cubicBezTo>
                    <a:pt x="1244534" y="592207"/>
                    <a:pt x="1266406" y="775170"/>
                    <a:pt x="1178847" y="918262"/>
                  </a:cubicBezTo>
                  <a:lnTo>
                    <a:pt x="1171221" y="930709"/>
                  </a:lnTo>
                  <a:lnTo>
                    <a:pt x="1220144" y="979631"/>
                  </a:lnTo>
                  <a:cubicBezTo>
                    <a:pt x="1225468" y="984883"/>
                    <a:pt x="1228345" y="992006"/>
                    <a:pt x="1228345" y="999488"/>
                  </a:cubicBezTo>
                  <a:cubicBezTo>
                    <a:pt x="1228417" y="1007114"/>
                    <a:pt x="1225540" y="1014237"/>
                    <a:pt x="1220215" y="1019488"/>
                  </a:cubicBezTo>
                  <a:close/>
                  <a:moveTo>
                    <a:pt x="1073233" y="526005"/>
                  </a:moveTo>
                  <a:cubicBezTo>
                    <a:pt x="1017114" y="469887"/>
                    <a:pt x="943370" y="441828"/>
                    <a:pt x="869693" y="441828"/>
                  </a:cubicBezTo>
                  <a:cubicBezTo>
                    <a:pt x="795948" y="441828"/>
                    <a:pt x="722275" y="469887"/>
                    <a:pt x="666153" y="526005"/>
                  </a:cubicBezTo>
                  <a:cubicBezTo>
                    <a:pt x="553915" y="638242"/>
                    <a:pt x="553915" y="820845"/>
                    <a:pt x="666153" y="933086"/>
                  </a:cubicBezTo>
                  <a:cubicBezTo>
                    <a:pt x="720400" y="987333"/>
                    <a:pt x="792706" y="1017263"/>
                    <a:pt x="869693" y="1017263"/>
                  </a:cubicBezTo>
                  <a:cubicBezTo>
                    <a:pt x="946679" y="1017263"/>
                    <a:pt x="1018982" y="987405"/>
                    <a:pt x="1073233" y="933086"/>
                  </a:cubicBezTo>
                  <a:cubicBezTo>
                    <a:pt x="1185397" y="820848"/>
                    <a:pt x="1185397" y="638246"/>
                    <a:pt x="1073233" y="526005"/>
                  </a:cubicBezTo>
                  <a:close/>
                  <a:moveTo>
                    <a:pt x="1048195" y="1086749"/>
                  </a:moveTo>
                  <a:lnTo>
                    <a:pt x="1057764" y="1081929"/>
                  </a:lnTo>
                  <a:lnTo>
                    <a:pt x="1057764" y="1386401"/>
                  </a:lnTo>
                  <a:cubicBezTo>
                    <a:pt x="1057764" y="1394027"/>
                    <a:pt x="1051577" y="1400215"/>
                    <a:pt x="1044022" y="1400215"/>
                  </a:cubicBezTo>
                  <a:lnTo>
                    <a:pt x="13742" y="1400215"/>
                  </a:lnTo>
                  <a:cubicBezTo>
                    <a:pt x="6115" y="1400215"/>
                    <a:pt x="0" y="1394027"/>
                    <a:pt x="0" y="1386473"/>
                  </a:cubicBezTo>
                  <a:lnTo>
                    <a:pt x="0" y="13742"/>
                  </a:lnTo>
                  <a:cubicBezTo>
                    <a:pt x="0" y="6115"/>
                    <a:pt x="6187" y="0"/>
                    <a:pt x="13742" y="0"/>
                  </a:cubicBezTo>
                  <a:lnTo>
                    <a:pt x="814144" y="0"/>
                  </a:lnTo>
                  <a:lnTo>
                    <a:pt x="814144" y="226342"/>
                  </a:lnTo>
                  <a:cubicBezTo>
                    <a:pt x="814144" y="235839"/>
                    <a:pt x="821914" y="243609"/>
                    <a:pt x="831411" y="243609"/>
                  </a:cubicBezTo>
                  <a:lnTo>
                    <a:pt x="1057753" y="243609"/>
                  </a:lnTo>
                  <a:lnTo>
                    <a:pt x="1057753" y="377213"/>
                  </a:lnTo>
                  <a:lnTo>
                    <a:pt x="1048184" y="372393"/>
                  </a:lnTo>
                  <a:cubicBezTo>
                    <a:pt x="992570" y="344550"/>
                    <a:pt x="932496" y="330449"/>
                    <a:pt x="869614" y="330449"/>
                  </a:cubicBezTo>
                  <a:cubicBezTo>
                    <a:pt x="762989" y="330449"/>
                    <a:pt x="662777" y="371962"/>
                    <a:pt x="587372" y="447363"/>
                  </a:cubicBezTo>
                  <a:cubicBezTo>
                    <a:pt x="511968" y="522763"/>
                    <a:pt x="470459" y="622984"/>
                    <a:pt x="470459" y="729678"/>
                  </a:cubicBezTo>
                  <a:cubicBezTo>
                    <a:pt x="470459" y="836303"/>
                    <a:pt x="511972" y="936515"/>
                    <a:pt x="587372" y="1011919"/>
                  </a:cubicBezTo>
                  <a:cubicBezTo>
                    <a:pt x="709321" y="1133797"/>
                    <a:pt x="894515" y="1163870"/>
                    <a:pt x="1048197" y="1086743"/>
                  </a:cubicBezTo>
                  <a:close/>
                  <a:moveTo>
                    <a:pt x="162682" y="248866"/>
                  </a:moveTo>
                  <a:lnTo>
                    <a:pt x="617742" y="248866"/>
                  </a:lnTo>
                  <a:cubicBezTo>
                    <a:pt x="627958" y="248866"/>
                    <a:pt x="636304" y="240520"/>
                    <a:pt x="636304" y="230304"/>
                  </a:cubicBezTo>
                  <a:cubicBezTo>
                    <a:pt x="636304" y="220087"/>
                    <a:pt x="627958" y="211742"/>
                    <a:pt x="617742" y="211742"/>
                  </a:cubicBezTo>
                  <a:lnTo>
                    <a:pt x="162682" y="211814"/>
                  </a:lnTo>
                  <a:cubicBezTo>
                    <a:pt x="152466" y="211814"/>
                    <a:pt x="144120" y="220159"/>
                    <a:pt x="144120" y="230376"/>
                  </a:cubicBezTo>
                  <a:cubicBezTo>
                    <a:pt x="144120" y="240592"/>
                    <a:pt x="152466" y="248866"/>
                    <a:pt x="162682" y="248866"/>
                  </a:cubicBezTo>
                  <a:close/>
                  <a:moveTo>
                    <a:pt x="144120" y="477215"/>
                  </a:moveTo>
                  <a:cubicBezTo>
                    <a:pt x="144120" y="487432"/>
                    <a:pt x="152466" y="495777"/>
                    <a:pt x="162682" y="495777"/>
                  </a:cubicBezTo>
                  <a:lnTo>
                    <a:pt x="431478" y="495777"/>
                  </a:lnTo>
                  <a:cubicBezTo>
                    <a:pt x="441695" y="495777"/>
                    <a:pt x="450040" y="487432"/>
                    <a:pt x="450040" y="477215"/>
                  </a:cubicBezTo>
                  <a:cubicBezTo>
                    <a:pt x="450040" y="466999"/>
                    <a:pt x="441694" y="458653"/>
                    <a:pt x="431478" y="458653"/>
                  </a:cubicBezTo>
                  <a:lnTo>
                    <a:pt x="162682" y="458653"/>
                  </a:lnTo>
                  <a:cubicBezTo>
                    <a:pt x="152466" y="458653"/>
                    <a:pt x="144120" y="466999"/>
                    <a:pt x="144120" y="477215"/>
                  </a:cubicBezTo>
                  <a:close/>
                  <a:moveTo>
                    <a:pt x="144120" y="724057"/>
                  </a:moveTo>
                  <a:cubicBezTo>
                    <a:pt x="144120" y="734273"/>
                    <a:pt x="152466" y="742619"/>
                    <a:pt x="162682" y="742619"/>
                  </a:cubicBezTo>
                  <a:lnTo>
                    <a:pt x="376223" y="742619"/>
                  </a:lnTo>
                  <a:cubicBezTo>
                    <a:pt x="386440" y="742619"/>
                    <a:pt x="394785" y="734273"/>
                    <a:pt x="394785" y="724057"/>
                  </a:cubicBezTo>
                  <a:cubicBezTo>
                    <a:pt x="394785" y="713841"/>
                    <a:pt x="386440" y="705495"/>
                    <a:pt x="376223" y="705495"/>
                  </a:cubicBezTo>
                  <a:lnTo>
                    <a:pt x="162682" y="705495"/>
                  </a:lnTo>
                  <a:cubicBezTo>
                    <a:pt x="152466" y="705495"/>
                    <a:pt x="144120" y="713841"/>
                    <a:pt x="144120" y="724057"/>
                  </a:cubicBezTo>
                  <a:close/>
                  <a:moveTo>
                    <a:pt x="144120" y="970898"/>
                  </a:moveTo>
                  <a:cubicBezTo>
                    <a:pt x="144120" y="981115"/>
                    <a:pt x="152466" y="989460"/>
                    <a:pt x="162682" y="989460"/>
                  </a:cubicBezTo>
                  <a:lnTo>
                    <a:pt x="428605" y="989460"/>
                  </a:lnTo>
                  <a:cubicBezTo>
                    <a:pt x="438821" y="989460"/>
                    <a:pt x="447167" y="981115"/>
                    <a:pt x="447167" y="970898"/>
                  </a:cubicBezTo>
                  <a:cubicBezTo>
                    <a:pt x="447167" y="960682"/>
                    <a:pt x="438821" y="952336"/>
                    <a:pt x="428605" y="952336"/>
                  </a:cubicBezTo>
                  <a:lnTo>
                    <a:pt x="162682" y="952336"/>
                  </a:lnTo>
                  <a:cubicBezTo>
                    <a:pt x="152466" y="952336"/>
                    <a:pt x="144120" y="960682"/>
                    <a:pt x="144120" y="970898"/>
                  </a:cubicBezTo>
                  <a:close/>
                  <a:moveTo>
                    <a:pt x="892509" y="1199248"/>
                  </a:moveTo>
                  <a:lnTo>
                    <a:pt x="162686" y="1199248"/>
                  </a:lnTo>
                  <a:cubicBezTo>
                    <a:pt x="152469" y="1199248"/>
                    <a:pt x="144124" y="1207594"/>
                    <a:pt x="144124" y="1217810"/>
                  </a:cubicBezTo>
                  <a:cubicBezTo>
                    <a:pt x="144124" y="1228026"/>
                    <a:pt x="152470" y="1236372"/>
                    <a:pt x="162686" y="1236372"/>
                  </a:cubicBezTo>
                  <a:lnTo>
                    <a:pt x="892509" y="1236300"/>
                  </a:lnTo>
                  <a:cubicBezTo>
                    <a:pt x="902726" y="1236300"/>
                    <a:pt x="911071" y="1227954"/>
                    <a:pt x="911071" y="1217738"/>
                  </a:cubicBezTo>
                  <a:cubicBezTo>
                    <a:pt x="910999" y="1207522"/>
                    <a:pt x="902726" y="1199248"/>
                    <a:pt x="892509" y="1199248"/>
                  </a:cubicBezTo>
                  <a:close/>
                  <a:moveTo>
                    <a:pt x="1537370" y="1320910"/>
                  </a:moveTo>
                  <a:lnTo>
                    <a:pt x="1373548" y="1157089"/>
                  </a:lnTo>
                  <a:cubicBezTo>
                    <a:pt x="1363332" y="1146944"/>
                    <a:pt x="1349805" y="1141332"/>
                    <a:pt x="1335417" y="1141332"/>
                  </a:cubicBezTo>
                  <a:cubicBezTo>
                    <a:pt x="1321029" y="1141332"/>
                    <a:pt x="1307430" y="1146944"/>
                    <a:pt x="1297286" y="1157089"/>
                  </a:cubicBezTo>
                  <a:cubicBezTo>
                    <a:pt x="1287141" y="1167233"/>
                    <a:pt x="1281529" y="1180760"/>
                    <a:pt x="1281529" y="1195220"/>
                  </a:cubicBezTo>
                  <a:cubicBezTo>
                    <a:pt x="1281529" y="1209680"/>
                    <a:pt x="1287141" y="1223278"/>
                    <a:pt x="1297214" y="1233351"/>
                  </a:cubicBezTo>
                  <a:lnTo>
                    <a:pt x="1461035" y="1397172"/>
                  </a:lnTo>
                  <a:cubicBezTo>
                    <a:pt x="1463625" y="1399762"/>
                    <a:pt x="1466359" y="1400338"/>
                    <a:pt x="1468158" y="1400338"/>
                  </a:cubicBezTo>
                  <a:cubicBezTo>
                    <a:pt x="1469956" y="1400338"/>
                    <a:pt x="1472690" y="1399763"/>
                    <a:pt x="1475280" y="1397172"/>
                  </a:cubicBezTo>
                  <a:lnTo>
                    <a:pt x="1537298" y="1335083"/>
                  </a:lnTo>
                  <a:cubicBezTo>
                    <a:pt x="1539169" y="1333212"/>
                    <a:pt x="1540248" y="1330622"/>
                    <a:pt x="1540320" y="1327960"/>
                  </a:cubicBezTo>
                  <a:cubicBezTo>
                    <a:pt x="1540320" y="1325370"/>
                    <a:pt x="1539241" y="1322780"/>
                    <a:pt x="1537370" y="1320909"/>
                  </a:cubicBezTo>
                  <a:close/>
                  <a:moveTo>
                    <a:pt x="1287065" y="1116946"/>
                  </a:moveTo>
                  <a:lnTo>
                    <a:pt x="1293181" y="1112341"/>
                  </a:lnTo>
                  <a:lnTo>
                    <a:pt x="1236487" y="1055720"/>
                  </a:lnTo>
                  <a:lnTo>
                    <a:pt x="1195838" y="1096369"/>
                  </a:lnTo>
                  <a:lnTo>
                    <a:pt x="1252460" y="1152991"/>
                  </a:lnTo>
                  <a:lnTo>
                    <a:pt x="1257064" y="1146947"/>
                  </a:lnTo>
                  <a:cubicBezTo>
                    <a:pt x="1258144" y="1145508"/>
                    <a:pt x="1259439" y="1144141"/>
                    <a:pt x="1260662" y="1142774"/>
                  </a:cubicBezTo>
                  <a:lnTo>
                    <a:pt x="1263396" y="1139608"/>
                  </a:lnTo>
                  <a:cubicBezTo>
                    <a:pt x="1265770" y="1136587"/>
                    <a:pt x="1268216" y="1133637"/>
                    <a:pt x="1270950" y="1130903"/>
                  </a:cubicBezTo>
                  <a:cubicBezTo>
                    <a:pt x="1273756" y="1128169"/>
                    <a:pt x="1276706" y="1125651"/>
                    <a:pt x="1279943" y="1123132"/>
                  </a:cubicBezTo>
                  <a:lnTo>
                    <a:pt x="1282749" y="1120686"/>
                  </a:lnTo>
                  <a:cubicBezTo>
                    <a:pt x="1284188" y="1119319"/>
                    <a:pt x="1285555" y="1118024"/>
                    <a:pt x="1287066" y="1116945"/>
                  </a:cubicBezTo>
                  <a:close/>
                </a:path>
              </a:pathLst>
            </a:custGeom>
            <a:solidFill>
              <a:schemeClr val="accent5"/>
            </a:solidFill>
            <a:ln w="18383" cap="flat">
              <a:noFill/>
              <a:prstDash val="solid"/>
              <a:miter/>
            </a:ln>
          </p:spPr>
          <p:txBody>
            <a:bodyPr rtlCol="0" anchor="ctr"/>
            <a:lstStyle/>
            <a:p>
              <a:endParaRPr lang="en-US"/>
            </a:p>
          </p:txBody>
        </p:sp>
      </p:grpSp>
    </p:spTree>
    <p:extLst>
      <p:ext uri="{BB962C8B-B14F-4D97-AF65-F5344CB8AC3E}">
        <p14:creationId xmlns:p14="http://schemas.microsoft.com/office/powerpoint/2010/main" val="14534218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606425" y="821531"/>
            <a:ext cx="7178675" cy="5214938"/>
          </a:xfrm>
        </p:spPr>
        <p:txBody>
          <a:bodyPr anchor="ctr"/>
          <a:lstStyle/>
          <a:p>
            <a:pPr marL="0" indent="0">
              <a:buNone/>
            </a:pPr>
            <a:r>
              <a:rPr lang="tr-TR" sz="6000" b="1" i="0" strike="noStrike" cap="none" spc="0" baseline="0">
                <a:solidFill>
                  <a:srgbClr val="FFFFFF"/>
                </a:solidFill>
                <a:effectLst/>
                <a:latin typeface="Calibri"/>
                <a:ea typeface="Calibri"/>
                <a:cs typeface="Calibri"/>
              </a:rPr>
              <a:t>2. Planlama ve Hazırlık</a:t>
            </a:r>
          </a:p>
        </p:txBody>
      </p:sp>
    </p:spTree>
    <p:extLst>
      <p:ext uri="{BB962C8B-B14F-4D97-AF65-F5344CB8AC3E}">
        <p14:creationId xmlns:p14="http://schemas.microsoft.com/office/powerpoint/2010/main" val="153039969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57DA4D-EE67-5BC2-AFA0-FF62DDAB14A2}"/>
              </a:ext>
            </a:extLst>
          </p:cNvPr>
          <p:cNvGraphicFramePr>
            <a:graphicFrameLocks noChangeAspect="1"/>
          </p:cNvGraphicFramePr>
          <p:nvPr>
            <p:custDataLst>
              <p:tags r:id="rId1"/>
            </p:custDataLst>
            <p:extLst>
              <p:ext uri="{D42A27DB-BD31-4B8C-83A1-F6EECF244321}">
                <p14:modId xmlns:p14="http://schemas.microsoft.com/office/powerpoint/2010/main" val="236603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A757DA4D-EE67-5BC2-AFA0-FF62DDAB14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r>
              <a:rPr lang="tr-TR" sz="3200" b="1" i="0" strike="noStrike" cap="none" spc="-20" baseline="0">
                <a:solidFill>
                  <a:srgbClr val="FFFFFF"/>
                </a:solidFill>
                <a:effectLst/>
                <a:latin typeface="Calibri"/>
                <a:ea typeface="Calibri"/>
                <a:cs typeface="Calibri"/>
              </a:rPr>
              <a:t>a) Ayak izi ekibini belirleme</a:t>
            </a:r>
          </a:p>
        </p:txBody>
      </p:sp>
      <p:pic>
        <p:nvPicPr>
          <p:cNvPr id="3" name="Picture Placeholder 9">
            <a:extLst>
              <a:ext uri="{FF2B5EF4-FFF2-40B4-BE49-F238E27FC236}">
                <a16:creationId xmlns:a16="http://schemas.microsoft.com/office/drawing/2014/main" id="{117BDA04-67B3-11D3-0276-BEAC487151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7324725" y="1041745"/>
            <a:ext cx="4867275" cy="5573199"/>
          </a:xfrm>
          <a:prstGeom prst="rect">
            <a:avLst/>
          </a:prstGeom>
        </p:spPr>
      </p:pic>
      <p:sp>
        <p:nvSpPr>
          <p:cNvPr id="13" name="TextBox 12">
            <a:extLst>
              <a:ext uri="{FF2B5EF4-FFF2-40B4-BE49-F238E27FC236}">
                <a16:creationId xmlns:a16="http://schemas.microsoft.com/office/drawing/2014/main" id="{6366D7B5-2F0D-0639-DC1B-AFD32C089030}"/>
              </a:ext>
            </a:extLst>
          </p:cNvPr>
          <p:cNvSpPr txBox="1"/>
          <p:nvPr/>
        </p:nvSpPr>
        <p:spPr>
          <a:xfrm>
            <a:off x="609231" y="2415340"/>
            <a:ext cx="6429744" cy="3672840"/>
          </a:xfrm>
          <a:prstGeom prst="rect">
            <a:avLst/>
          </a:prstGeom>
          <a:noFill/>
        </p:spPr>
        <p:txBody>
          <a:bodyPr wrap="square" lIns="91440" tIns="0" rIns="0" bIns="0">
            <a:spAutoFit/>
          </a:bodyPr>
          <a:lstStyle/>
          <a:p>
            <a:pPr marL="342900" lvl="2" indent="-228600">
              <a:spcBef>
                <a:spcPts val="10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Tesisler veya Operasyonlar ve Bakım (ör. elektrik ve yakıt kullanımı) </a:t>
            </a:r>
          </a:p>
          <a:p>
            <a:pPr marL="342900" lvl="2" indent="-228600">
              <a:spcBef>
                <a:spcPts val="10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Satın Alma veya Finans (ör. soğutucu satın alımları)</a:t>
            </a:r>
          </a:p>
          <a:p>
            <a:pPr marL="342900" lvl="2" indent="-228600">
              <a:spcBef>
                <a:spcPts val="10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Mühendislik </a:t>
            </a:r>
          </a:p>
          <a:p>
            <a:pPr marL="342900" lvl="2" indent="-228600">
              <a:spcBef>
                <a:spcPts val="10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Kurumsal Sosyal Sorumluluk </a:t>
            </a:r>
          </a:p>
          <a:p>
            <a:pPr marL="342900" lvl="2" indent="-228600">
              <a:spcBef>
                <a:spcPts val="10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Çevre, Sağlık ve Güvenlik </a:t>
            </a:r>
          </a:p>
          <a:p>
            <a:pPr marL="342900" lvl="2" indent="-228600">
              <a:spcBef>
                <a:spcPts val="10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Liderlik</a:t>
            </a:r>
          </a:p>
          <a:p>
            <a:pPr marL="342900" lvl="2" indent="-228600">
              <a:spcBef>
                <a:spcPts val="1000"/>
              </a:spcBef>
              <a:buFont typeface="Arial" panose="020B0604020202020204" pitchFamily="34" charset="0"/>
              <a:buChar char="•"/>
            </a:pPr>
            <a:r>
              <a:rPr lang="tr-TR" sz="1600" b="0" i="0" strike="noStrike" cap="none" spc="0" baseline="0">
                <a:solidFill>
                  <a:srgbClr val="000000"/>
                </a:solidFill>
                <a:effectLst/>
                <a:latin typeface="Calibri"/>
                <a:ea typeface="Calibri"/>
                <a:cs typeface="Calibri"/>
              </a:rPr>
              <a:t>Üçüncü taraf veya şirket dışından uzmanlar</a:t>
            </a:r>
          </a:p>
          <a:p>
            <a:pPr marL="0" lvl="2">
              <a:spcBef>
                <a:spcPts val="1800"/>
              </a:spcBef>
              <a:buNone/>
            </a:pPr>
            <a:r>
              <a:rPr lang="tr-TR" sz="1600" b="1" i="0" u="sng" strike="noStrike" cap="none" spc="0" baseline="0">
                <a:solidFill>
                  <a:srgbClr val="0065E5"/>
                </a:solidFill>
                <a:effectLst/>
                <a:uFill>
                  <a:solidFill>
                    <a:srgbClr val="0065E5"/>
                  </a:solidFill>
                </a:uFill>
                <a:latin typeface="Calibri"/>
                <a:ea typeface="Calibri"/>
                <a:cs typeface="Calibri"/>
              </a:rPr>
              <a:t>Örnek</a:t>
            </a:r>
            <a:r>
              <a:rPr lang="tr-TR" sz="1600" b="1" i="0" strike="noStrike" cap="none" spc="0" baseline="0">
                <a:solidFill>
                  <a:srgbClr val="0065E5"/>
                </a:solidFill>
                <a:effectLst/>
                <a:latin typeface="Calibri"/>
                <a:ea typeface="Calibri"/>
                <a:cs typeface="Calibri"/>
              </a:rPr>
              <a:t>: </a:t>
            </a:r>
            <a:r>
              <a:rPr lang="tr-TR" sz="1600" b="0" i="0" strike="noStrike" cap="none" spc="0" baseline="0">
                <a:solidFill>
                  <a:srgbClr val="000000"/>
                </a:solidFill>
                <a:effectLst/>
                <a:latin typeface="Calibri"/>
                <a:ea typeface="Calibri"/>
                <a:cs typeface="Calibri"/>
              </a:rPr>
              <a:t>'X' Şirketi bünyesinde, Finans, Tesisler ve Mühendislik ekibinin çekirdek üyelerinden, ayrıca Kurumsal Sosyal Sorumluluk ekibinden bir lider sponsordan ve bir 3. taraf danışmanın desteğinden oluşan, işlevler arası dahili bir sera gazı envanter ekibi oluşturuldu. </a:t>
            </a:r>
          </a:p>
        </p:txBody>
      </p:sp>
      <p:sp>
        <p:nvSpPr>
          <p:cNvPr id="14" name="Arrow: Left-Up 13">
            <a:extLst>
              <a:ext uri="{FF2B5EF4-FFF2-40B4-BE49-F238E27FC236}">
                <a16:creationId xmlns:a16="http://schemas.microsoft.com/office/drawing/2014/main" id="{0A72E4BB-7ADA-D904-568B-850A332F7994}"/>
              </a:ext>
            </a:extLst>
          </p:cNvPr>
          <p:cNvSpPr/>
          <p:nvPr/>
        </p:nvSpPr>
        <p:spPr>
          <a:xfrm rot="5400000" flipV="1">
            <a:off x="-2302852" y="3588730"/>
            <a:ext cx="5214936" cy="609232"/>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Left-Up 14">
            <a:extLst>
              <a:ext uri="{FF2B5EF4-FFF2-40B4-BE49-F238E27FC236}">
                <a16:creationId xmlns:a16="http://schemas.microsoft.com/office/drawing/2014/main" id="{F400D56B-DFE1-52C5-69B9-3126E2E24107}"/>
              </a:ext>
            </a:extLst>
          </p:cNvPr>
          <p:cNvSpPr/>
          <p:nvPr/>
        </p:nvSpPr>
        <p:spPr>
          <a:xfrm flipH="1" flipV="1">
            <a:off x="609231" y="1185863"/>
            <a:ext cx="6715494" cy="377870"/>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BE3064E-F3CA-5A82-54B5-1BB388640639}"/>
              </a:ext>
            </a:extLst>
          </p:cNvPr>
          <p:cNvSpPr/>
          <p:nvPr/>
        </p:nvSpPr>
        <p:spPr>
          <a:xfrm>
            <a:off x="612758" y="1271588"/>
            <a:ext cx="6711967" cy="104829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l" defTabSz="914400" rtl="0" eaLnBrk="1" fontAlgn="auto" latinLnBrk="0" hangingPunct="1">
              <a:lnSpc>
                <a:spcPct val="100000"/>
              </a:lnSpc>
              <a:spcBef>
                <a:spcPct val="0"/>
              </a:spcBef>
              <a:spcAft>
                <a:spcPct val="0"/>
              </a:spcAft>
              <a:buClrTx/>
              <a:buSzTx/>
              <a:buFontTx/>
              <a:buNone/>
              <a:defRPr/>
            </a:pPr>
            <a:r>
              <a:rPr lang="tr-TR" sz="1800" b="1" i="0" strike="noStrike" cap="none" spc="0" baseline="0">
                <a:solidFill>
                  <a:srgbClr val="FFFFFF"/>
                </a:solidFill>
                <a:effectLst/>
                <a:latin typeface="Calibri"/>
                <a:ea typeface="Calibri"/>
                <a:cs typeface="Calibri"/>
              </a:rPr>
              <a:t>Sera gazı ayak izini hesaplamak için gereken ekipler, kuruluşunuzun büyüklüğüne, karmaşıklığına ve şirketinizin iklim olgunluğuna bağlı olarak değişebilir. </a:t>
            </a:r>
            <a:r>
              <a:rPr lang="tr-TR" sz="1800" b="1" i="0" u="sng" strike="noStrike" cap="none" spc="0" baseline="0">
                <a:solidFill>
                  <a:srgbClr val="FFFFFF"/>
                </a:solidFill>
                <a:effectLst/>
                <a:uFill>
                  <a:solidFill>
                    <a:srgbClr val="FFFFFF"/>
                  </a:solidFill>
                </a:uFill>
                <a:latin typeface="Calibri"/>
                <a:ea typeface="Calibri"/>
                <a:cs typeface="Calibri"/>
              </a:rPr>
              <a:t>Ekipler genellikle</a:t>
            </a:r>
            <a:r>
              <a:rPr lang="tr-TR" sz="1800" b="1" i="0" strike="noStrike" cap="none" spc="0" baseline="0">
                <a:solidFill>
                  <a:srgbClr val="FFFFFF"/>
                </a:solidFill>
                <a:effectLst/>
                <a:latin typeface="Calibri"/>
                <a:ea typeface="Calibri"/>
                <a:cs typeface="Calibri"/>
              </a:rPr>
              <a:t> aşağıdakilerin personelinden oluşur</a:t>
            </a:r>
          </a:p>
        </p:txBody>
      </p:sp>
    </p:spTree>
    <p:extLst>
      <p:ext uri="{BB962C8B-B14F-4D97-AF65-F5344CB8AC3E}">
        <p14:creationId xmlns:p14="http://schemas.microsoft.com/office/powerpoint/2010/main" val="273456730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Microsoft Windows NT 10.0"/>
  <p:tag name="AS_RELEASE_DATE" val="2023.06.30"/>
  <p:tag name="AS_TITLE" val="Aspose.Slides for Java"/>
  <p:tag name="AS_VERSION" val="23.6"/>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updated">
      <a:dk1>
        <a:srgbClr val="000000"/>
      </a:dk1>
      <a:lt1>
        <a:srgbClr val="FFFFFF"/>
      </a:lt1>
      <a:dk2>
        <a:srgbClr val="44546A"/>
      </a:dk2>
      <a:lt2>
        <a:srgbClr val="E7E6E6"/>
      </a:lt2>
      <a:accent1>
        <a:srgbClr val="00C041"/>
      </a:accent1>
      <a:accent2>
        <a:srgbClr val="00A651"/>
      </a:accent2>
      <a:accent3>
        <a:srgbClr val="8EDB43"/>
      </a:accent3>
      <a:accent4>
        <a:srgbClr val="FFC62C"/>
      </a:accent4>
      <a:accent5>
        <a:srgbClr val="0065E5"/>
      </a:accent5>
      <a:accent6>
        <a:srgbClr val="4FE2F3"/>
      </a:accent6>
      <a:hlink>
        <a:srgbClr val="797979"/>
      </a:hlink>
      <a:folHlink>
        <a:srgbClr val="A9A9A9"/>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9EC91132ADFE45B0E66798401BC50E" ma:contentTypeVersion="18" ma:contentTypeDescription="Create a new document." ma:contentTypeScope="" ma:versionID="8aab511cf751b7328419504d36f89a92">
  <xsd:schema xmlns:xsd="http://www.w3.org/2001/XMLSchema" xmlns:xs="http://www.w3.org/2001/XMLSchema" xmlns:p="http://schemas.microsoft.com/office/2006/metadata/properties" xmlns:ns2="dd60b2ae-bad4-4d1b-b416-c73d3851a7cb" xmlns:ns3="daf91340-3ccc-4aa5-923f-791d06611507" targetNamespace="http://schemas.microsoft.com/office/2006/metadata/properties" ma:root="true" ma:fieldsID="4c8cc525c13100ca373ce855af188e64" ns2:_="" ns3:_="">
    <xsd:import namespace="dd60b2ae-bad4-4d1b-b416-c73d3851a7cb"/>
    <xsd:import namespace="daf91340-3ccc-4aa5-923f-791d0661150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60b2ae-bad4-4d1b-b416-c73d3851a7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ae8bc6-2808-436b-8758-b62c6fb37c03"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f91340-3ccc-4aa5-923f-791d0661150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2034750-c476-44d1-b8d1-a449c3d13a8a}" ma:internalName="TaxCatchAll" ma:showField="CatchAllData" ma:web="daf91340-3ccc-4aa5-923f-791d066115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d60b2ae-bad4-4d1b-b416-c73d3851a7cb">
      <Terms xmlns="http://schemas.microsoft.com/office/infopath/2007/PartnerControls"/>
    </lcf76f155ced4ddcb4097134ff3c332f>
    <TaxCatchAll xmlns="daf91340-3ccc-4aa5-923f-791d06611507" xsi:nil="true"/>
    <SharedWithUsers xmlns="daf91340-3ccc-4aa5-923f-791d06611507">
      <UserInfo>
        <DisplayName>RUBALCAVA, ANDRES {PEP}</DisplayName>
        <AccountId>19</AccountId>
        <AccountType/>
      </UserInfo>
      <UserInfo>
        <DisplayName>Schwarzbach, Natasha {PEP}</DisplayName>
        <AccountId>12</AccountId>
        <AccountType/>
      </UserInfo>
      <UserInfo>
        <DisplayName>Hut, Erik {PEP}</DisplayName>
        <AccountId>9</AccountId>
        <AccountType/>
      </UserInfo>
      <UserInfo>
        <DisplayName>Phung, Thuy {PEP}</DisplayName>
        <AccountId>23</AccountId>
        <AccountType/>
      </UserInfo>
      <UserInfo>
        <DisplayName>Gokhale, Sanmitra {PEP}</DisplayName>
        <AccountId>34</AccountId>
        <AccountType/>
      </UserInfo>
    </SharedWithUsers>
  </documentManagement>
</p:properties>
</file>

<file path=customXml/itemProps1.xml><?xml version="1.0" encoding="utf-8"?>
<ds:datastoreItem xmlns:ds="http://schemas.openxmlformats.org/officeDocument/2006/customXml" ds:itemID="{0A1F9831-63D7-41B4-B52E-80AFE1FB8C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60b2ae-bad4-4d1b-b416-c73d3851a7cb"/>
    <ds:schemaRef ds:uri="daf91340-3ccc-4aa5-923f-791d066115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4FCF79C-FF8C-40E8-BAAE-AC41127B8C38}">
  <ds:schemaRefs>
    <ds:schemaRef ds:uri="http://schemas.microsoft.com/sharepoint/v3/contenttype/forms"/>
  </ds:schemaRefs>
</ds:datastoreItem>
</file>

<file path=customXml/itemProps3.xml><?xml version="1.0" encoding="utf-8"?>
<ds:datastoreItem xmlns:ds="http://schemas.openxmlformats.org/officeDocument/2006/customXml" ds:itemID="{96E741FD-624B-477A-9BF6-82CBDA985F57}">
  <ds:schemaRefs>
    <ds:schemaRef ds:uri="09f724f0-0c9c-4c09-87c1-60751b11eb45"/>
    <ds:schemaRef ds:uri="1dae2c1c-4700-4f2c-8494-417ccadafe0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dd60b2ae-bad4-4d1b-b416-c73d3851a7cb"/>
    <ds:schemaRef ds:uri="daf91340-3ccc-4aa5-923f-791d06611507"/>
  </ds:schemaRefs>
</ds:datastoreItem>
</file>

<file path=docProps/app.xml><?xml version="1.0" encoding="utf-8"?>
<Properties xmlns="http://schemas.openxmlformats.org/officeDocument/2006/extended-properties" xmlns:vt="http://schemas.openxmlformats.org/officeDocument/2006/docPropsVTypes">
  <TotalTime>0</TotalTime>
  <Words>3183</Words>
  <Application>Microsoft Office PowerPoint</Application>
  <PresentationFormat>Widescreen</PresentationFormat>
  <Paragraphs>377</Paragraphs>
  <Slides>33</Slides>
  <Notes>27</Notes>
  <HiddenSlides>0</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Office Theme</vt:lpstr>
      <vt:lpstr>PowerPoint Presentation</vt:lpstr>
      <vt:lpstr>PowerPoint Presentation</vt:lpstr>
      <vt:lpstr>Taahhüt</vt:lpstr>
      <vt:lpstr>PowerPoint Presentation</vt:lpstr>
      <vt:lpstr>PowerPoint Presentation</vt:lpstr>
      <vt:lpstr>Kapsam 1 emisyonları şirketin faaliyetlerinden kaynaklanan doğrudan emisyonlardır. Kapsam 2 emisyonları satın alınan elektrik, buhar, ısıtma ve soğutmadan kaynaklanan dolaylı emisyonlardır.</vt:lpstr>
      <vt:lpstr>Sera gazı ayak izi 4 aşamada tamamlanır</vt:lpstr>
      <vt:lpstr>PowerPoint Presentation</vt:lpstr>
      <vt:lpstr>a) Ayak izi ekibini belirleme</vt:lpstr>
      <vt:lpstr>b) Kurumsal sınırınızı belirleyin</vt:lpstr>
      <vt:lpstr>c) Hesaplama metodolojisini anlama</vt:lpstr>
      <vt:lpstr>PowerPoint Presentation</vt:lpstr>
      <vt:lpstr>Veri toplama, sürekli bir iyileştirme sürecidir</vt:lpstr>
      <vt:lpstr>a) Veri toplama yöntemini tanımlama</vt:lpstr>
      <vt:lpstr>b) Kapsam 1 faaliyet verilerini toplama</vt:lpstr>
      <vt:lpstr>c) Kapsam 1 emisyon faktörlerinin toplanması</vt:lpstr>
      <vt:lpstr>Kaçak emisyonlar</vt:lpstr>
      <vt:lpstr>Kapsam 2 emisyonları: Konum tabanlı ve Pazar tabanlı</vt:lpstr>
      <vt:lpstr>İnandırıcı Yenilenebilir Elektrik Taleplerinde Bulunmak için EAC’lere ihtiyacınız var</vt:lpstr>
      <vt:lpstr>b) Kapsam 2 faaliyet verilerini toplama</vt:lpstr>
      <vt:lpstr>c) Kapsam 2 emisyon faktörlerinin toplanması</vt:lpstr>
      <vt:lpstr>PowerPoint Presentation</vt:lpstr>
      <vt:lpstr>Sera gazı emisyonlarını hesaplama</vt:lpstr>
      <vt:lpstr>PowerPoint Presentation</vt:lpstr>
      <vt:lpstr>Ayak izi izleme ve revize etme</vt:lpstr>
      <vt:lpstr>PowerPoint Presentation</vt:lpstr>
      <vt:lpstr>Özetle Sizden İstediklerimiz</vt:lpstr>
      <vt:lpstr>Özetle Sizden İstediklerimiz</vt:lpstr>
      <vt:lpstr>Kapsam 1+2 emisyonlarını hesaplamak için ek kaynaklar</vt:lpstr>
      <vt:lpstr>PowerPoint Presentation</vt:lpstr>
      <vt:lpstr>PowerPoint Presentation</vt:lpstr>
      <vt:lpstr>a) Veri toplama yöntemini tanımlama</vt:lpstr>
      <vt:lpstr>İnandırıcı Yenilenebilir Elektrik Taleplerinde Bulunmak için EAC’lere ihtiyacınız va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storiuc, Adriana Georgiana {PEP}</dc:creator>
  <cp:lastModifiedBy>Richard Harrington</cp:lastModifiedBy>
  <cp:revision>6</cp:revision>
  <dcterms:created xsi:type="dcterms:W3CDTF">2020-09-30T06:22:14Z</dcterms:created>
  <dcterms:modified xsi:type="dcterms:W3CDTF">2024-05-21T06:4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EC91132ADFE45B0E66798401BC50E</vt:lpwstr>
  </property>
  <property fmtid="{D5CDD505-2E9C-101B-9397-08002B2CF9AE}" pid="3" name="MediaServiceImageTags">
    <vt:lpwstr/>
  </property>
</Properties>
</file>